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19"/>
  </p:notesMasterIdLst>
  <p:handoutMasterIdLst>
    <p:handoutMasterId r:id="rId20"/>
  </p:handoutMasterIdLst>
  <p:sldIdLst>
    <p:sldId id="2145706936" r:id="rId5"/>
    <p:sldId id="2145707004" r:id="rId6"/>
    <p:sldId id="2145706962" r:id="rId7"/>
    <p:sldId id="2145707002" r:id="rId8"/>
    <p:sldId id="2145707003" r:id="rId9"/>
    <p:sldId id="2145707005" r:id="rId10"/>
    <p:sldId id="2145707007" r:id="rId11"/>
    <p:sldId id="2145707008" r:id="rId12"/>
    <p:sldId id="2145707009" r:id="rId13"/>
    <p:sldId id="2145707010" r:id="rId14"/>
    <p:sldId id="2145707011" r:id="rId15"/>
    <p:sldId id="2145707012" r:id="rId16"/>
    <p:sldId id="2145707006" r:id="rId17"/>
    <p:sldId id="214570699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AD72FE02-6308-43AD-8BC3-36C4F6843E9E}">
          <p14:sldIdLst>
            <p14:sldId id="2145706936"/>
          </p14:sldIdLst>
        </p14:section>
        <p14:section name="Content Slides" id="{11D410A7-9DE6-423C-9878-52EA9AB2D054}">
          <p14:sldIdLst>
            <p14:sldId id="2145707004"/>
            <p14:sldId id="2145706962"/>
            <p14:sldId id="2145707002"/>
            <p14:sldId id="2145707003"/>
            <p14:sldId id="2145707005"/>
            <p14:sldId id="2145707007"/>
            <p14:sldId id="2145707008"/>
            <p14:sldId id="2145707009"/>
            <p14:sldId id="2145707010"/>
            <p14:sldId id="2145707011"/>
            <p14:sldId id="2145707012"/>
            <p14:sldId id="2145707006"/>
          </p14:sldIdLst>
        </p14:section>
        <p14:section name="Beraterprofile" id="{9F72CC60-B535-441D-B4F2-5C903D9845ED}">
          <p14:sldIdLst>
            <p14:sldId id="21457069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8261"/>
    <a:srgbClr val="02B9F2"/>
    <a:srgbClr val="E8E9EC"/>
    <a:srgbClr val="07E7AC"/>
    <a:srgbClr val="363636"/>
    <a:srgbClr val="06D6A0"/>
    <a:srgbClr val="A0E8FE"/>
    <a:srgbClr val="F2C811"/>
    <a:srgbClr val="DA121A"/>
    <a:srgbClr val="F09B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FA0F75-6FFC-4729-B44E-60F774108FB8}" v="139" dt="2024-11-14T14:28:41.6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4" d="100"/>
          <a:sy n="64" d="100"/>
        </p:scale>
        <p:origin x="168" y="354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rik Harnisch" userId="9e8d4388-1ad6-42ce-84d4-a406a1bf355f" providerId="ADAL" clId="{DCFA0F75-6FFC-4729-B44E-60F774108FB8}"/>
    <pc:docChg chg="undo custSel addSld delSld modSld sldOrd addSection delSection modSection">
      <pc:chgData name="Ulrik Harnisch" userId="9e8d4388-1ad6-42ce-84d4-a406a1bf355f" providerId="ADAL" clId="{DCFA0F75-6FFC-4729-B44E-60F774108FB8}" dt="2024-11-14T14:38:02.606" v="2767" actId="729"/>
      <pc:docMkLst>
        <pc:docMk/>
      </pc:docMkLst>
      <pc:sldChg chg="add del">
        <pc:chgData name="Ulrik Harnisch" userId="9e8d4388-1ad6-42ce-84d4-a406a1bf355f" providerId="ADAL" clId="{DCFA0F75-6FFC-4729-B44E-60F774108FB8}" dt="2024-11-11T18:43:20.345" v="1417" actId="47"/>
        <pc:sldMkLst>
          <pc:docMk/>
          <pc:sldMk cId="1299848656" sldId="2145706918"/>
        </pc:sldMkLst>
      </pc:sldChg>
      <pc:sldChg chg="add del">
        <pc:chgData name="Ulrik Harnisch" userId="9e8d4388-1ad6-42ce-84d4-a406a1bf355f" providerId="ADAL" clId="{DCFA0F75-6FFC-4729-B44E-60F774108FB8}" dt="2024-11-11T18:43:20.345" v="1417" actId="47"/>
        <pc:sldMkLst>
          <pc:docMk/>
          <pc:sldMk cId="3764772675" sldId="2145706919"/>
        </pc:sldMkLst>
      </pc:sldChg>
      <pc:sldChg chg="add del">
        <pc:chgData name="Ulrik Harnisch" userId="9e8d4388-1ad6-42ce-84d4-a406a1bf355f" providerId="ADAL" clId="{DCFA0F75-6FFC-4729-B44E-60F774108FB8}" dt="2024-11-11T18:43:06.563" v="1415" actId="47"/>
        <pc:sldMkLst>
          <pc:docMk/>
          <pc:sldMk cId="2043806589" sldId="2145706922"/>
        </pc:sldMkLst>
      </pc:sldChg>
      <pc:sldChg chg="add del">
        <pc:chgData name="Ulrik Harnisch" userId="9e8d4388-1ad6-42ce-84d4-a406a1bf355f" providerId="ADAL" clId="{DCFA0F75-6FFC-4729-B44E-60F774108FB8}" dt="2024-11-11T18:43:20.345" v="1417" actId="47"/>
        <pc:sldMkLst>
          <pc:docMk/>
          <pc:sldMk cId="4199821102" sldId="2145706923"/>
        </pc:sldMkLst>
      </pc:sldChg>
      <pc:sldChg chg="add del">
        <pc:chgData name="Ulrik Harnisch" userId="9e8d4388-1ad6-42ce-84d4-a406a1bf355f" providerId="ADAL" clId="{DCFA0F75-6FFC-4729-B44E-60F774108FB8}" dt="2024-11-11T18:43:20.345" v="1417" actId="47"/>
        <pc:sldMkLst>
          <pc:docMk/>
          <pc:sldMk cId="2800386762" sldId="2145706924"/>
        </pc:sldMkLst>
      </pc:sldChg>
      <pc:sldChg chg="add del">
        <pc:chgData name="Ulrik Harnisch" userId="9e8d4388-1ad6-42ce-84d4-a406a1bf355f" providerId="ADAL" clId="{DCFA0F75-6FFC-4729-B44E-60F774108FB8}" dt="2024-11-11T18:43:20.345" v="1417" actId="47"/>
        <pc:sldMkLst>
          <pc:docMk/>
          <pc:sldMk cId="6982472" sldId="2145706934"/>
        </pc:sldMkLst>
      </pc:sldChg>
      <pc:sldChg chg="addSp delSp modSp mod delAnim modAnim">
        <pc:chgData name="Ulrik Harnisch" userId="9e8d4388-1ad6-42ce-84d4-a406a1bf355f" providerId="ADAL" clId="{DCFA0F75-6FFC-4729-B44E-60F774108FB8}" dt="2024-11-12T07:29:11.745" v="1565"/>
        <pc:sldMkLst>
          <pc:docMk/>
          <pc:sldMk cId="3560795068" sldId="2145706936"/>
        </pc:sldMkLst>
        <pc:spChg chg="mod">
          <ac:chgData name="Ulrik Harnisch" userId="9e8d4388-1ad6-42ce-84d4-a406a1bf355f" providerId="ADAL" clId="{DCFA0F75-6FFC-4729-B44E-60F774108FB8}" dt="2024-11-11T18:26:24.408" v="668" actId="408"/>
          <ac:spMkLst>
            <pc:docMk/>
            <pc:sldMk cId="3560795068" sldId="2145706936"/>
            <ac:spMk id="8" creationId="{8EF4540A-9010-279A-8694-AF3F2FBA8A5F}"/>
          </ac:spMkLst>
        </pc:spChg>
        <pc:spChg chg="add del mod">
          <ac:chgData name="Ulrik Harnisch" userId="9e8d4388-1ad6-42ce-84d4-a406a1bf355f" providerId="ADAL" clId="{DCFA0F75-6FFC-4729-B44E-60F774108FB8}" dt="2024-11-11T18:26:38.544" v="674" actId="14100"/>
          <ac:spMkLst>
            <pc:docMk/>
            <pc:sldMk cId="3560795068" sldId="2145706936"/>
            <ac:spMk id="10" creationId="{8D5F103D-CCD0-5C29-A880-5CF519D3E438}"/>
          </ac:spMkLst>
        </pc:spChg>
        <pc:spChg chg="mod">
          <ac:chgData name="Ulrik Harnisch" userId="9e8d4388-1ad6-42ce-84d4-a406a1bf355f" providerId="ADAL" clId="{DCFA0F75-6FFC-4729-B44E-60F774108FB8}" dt="2024-11-11T18:26:39.525" v="675" actId="14100"/>
          <ac:spMkLst>
            <pc:docMk/>
            <pc:sldMk cId="3560795068" sldId="2145706936"/>
            <ac:spMk id="11" creationId="{47B04847-7B17-A933-089D-EBF967982F90}"/>
          </ac:spMkLst>
        </pc:spChg>
        <pc:spChg chg="del mod topLvl">
          <ac:chgData name="Ulrik Harnisch" userId="9e8d4388-1ad6-42ce-84d4-a406a1bf355f" providerId="ADAL" clId="{DCFA0F75-6FFC-4729-B44E-60F774108FB8}" dt="2024-11-12T07:26:26.605" v="1562" actId="478"/>
          <ac:spMkLst>
            <pc:docMk/>
            <pc:sldMk cId="3560795068" sldId="2145706936"/>
            <ac:spMk id="16" creationId="{5ADAD0DA-9EDD-6035-DF3A-EA64CF6BCC4F}"/>
          </ac:spMkLst>
        </pc:spChg>
        <pc:spChg chg="mod">
          <ac:chgData name="Ulrik Harnisch" userId="9e8d4388-1ad6-42ce-84d4-a406a1bf355f" providerId="ADAL" clId="{DCFA0F75-6FFC-4729-B44E-60F774108FB8}" dt="2024-11-11T18:27:58.041" v="704" actId="20577"/>
          <ac:spMkLst>
            <pc:docMk/>
            <pc:sldMk cId="3560795068" sldId="2145706936"/>
            <ac:spMk id="17" creationId="{7272FA83-13C4-7227-C76E-D770C082DFE6}"/>
          </ac:spMkLst>
        </pc:spChg>
        <pc:spChg chg="add mod ord">
          <ac:chgData name="Ulrik Harnisch" userId="9e8d4388-1ad6-42ce-84d4-a406a1bf355f" providerId="ADAL" clId="{DCFA0F75-6FFC-4729-B44E-60F774108FB8}" dt="2024-11-11T18:26:32.721" v="671" actId="1076"/>
          <ac:spMkLst>
            <pc:docMk/>
            <pc:sldMk cId="3560795068" sldId="2145706936"/>
            <ac:spMk id="19" creationId="{D2759FF5-AE94-6F81-F603-0A63E30F5165}"/>
          </ac:spMkLst>
        </pc:spChg>
        <pc:spChg chg="add del mod">
          <ac:chgData name="Ulrik Harnisch" userId="9e8d4388-1ad6-42ce-84d4-a406a1bf355f" providerId="ADAL" clId="{DCFA0F75-6FFC-4729-B44E-60F774108FB8}" dt="2024-11-12T07:25:55.150" v="1555" actId="478"/>
          <ac:spMkLst>
            <pc:docMk/>
            <pc:sldMk cId="3560795068" sldId="2145706936"/>
            <ac:spMk id="20" creationId="{CB658E2B-83BE-AC00-77B2-17056AB22CAB}"/>
          </ac:spMkLst>
        </pc:spChg>
        <pc:spChg chg="add del mod">
          <ac:chgData name="Ulrik Harnisch" userId="9e8d4388-1ad6-42ce-84d4-a406a1bf355f" providerId="ADAL" clId="{DCFA0F75-6FFC-4729-B44E-60F774108FB8}" dt="2024-11-12T07:25:54.204" v="1554" actId="478"/>
          <ac:spMkLst>
            <pc:docMk/>
            <pc:sldMk cId="3560795068" sldId="2145706936"/>
            <ac:spMk id="21" creationId="{BF05A582-874E-B253-B602-840ED83C1DF3}"/>
          </ac:spMkLst>
        </pc:spChg>
        <pc:spChg chg="add del mod">
          <ac:chgData name="Ulrik Harnisch" userId="9e8d4388-1ad6-42ce-84d4-a406a1bf355f" providerId="ADAL" clId="{DCFA0F75-6FFC-4729-B44E-60F774108FB8}" dt="2024-11-12T07:25:52.402" v="1553" actId="478"/>
          <ac:spMkLst>
            <pc:docMk/>
            <pc:sldMk cId="3560795068" sldId="2145706936"/>
            <ac:spMk id="22" creationId="{33E5257E-E39E-1228-D3AC-B1C816760701}"/>
          </ac:spMkLst>
        </pc:spChg>
        <pc:spChg chg="add del mod">
          <ac:chgData name="Ulrik Harnisch" userId="9e8d4388-1ad6-42ce-84d4-a406a1bf355f" providerId="ADAL" clId="{DCFA0F75-6FFC-4729-B44E-60F774108FB8}" dt="2024-11-12T07:25:56.423" v="1556" actId="478"/>
          <ac:spMkLst>
            <pc:docMk/>
            <pc:sldMk cId="3560795068" sldId="2145706936"/>
            <ac:spMk id="23" creationId="{99C33D7A-BFF1-2F99-DEFB-6C55E755B647}"/>
          </ac:spMkLst>
        </pc:spChg>
        <pc:grpChg chg="add del">
          <ac:chgData name="Ulrik Harnisch" userId="9e8d4388-1ad6-42ce-84d4-a406a1bf355f" providerId="ADAL" clId="{DCFA0F75-6FFC-4729-B44E-60F774108FB8}" dt="2024-11-12T07:26:24.371" v="1561" actId="165"/>
          <ac:grpSpMkLst>
            <pc:docMk/>
            <pc:sldMk cId="3560795068" sldId="2145706936"/>
            <ac:grpSpMk id="18" creationId="{09DAE348-0AE7-FBA5-EC95-20FE949CF270}"/>
          </ac:grpSpMkLst>
        </pc:grpChg>
        <pc:grpChg chg="add mod">
          <ac:chgData name="Ulrik Harnisch" userId="9e8d4388-1ad6-42ce-84d4-a406a1bf355f" providerId="ADAL" clId="{DCFA0F75-6FFC-4729-B44E-60F774108FB8}" dt="2024-11-11T18:50:05.920" v="1481" actId="164"/>
          <ac:grpSpMkLst>
            <pc:docMk/>
            <pc:sldMk cId="3560795068" sldId="2145706936"/>
            <ac:grpSpMk id="24" creationId="{3B86BF44-1082-78B7-7C02-F2F114C9901E}"/>
          </ac:grpSpMkLst>
        </pc:grpChg>
        <pc:grpChg chg="add mod">
          <ac:chgData name="Ulrik Harnisch" userId="9e8d4388-1ad6-42ce-84d4-a406a1bf355f" providerId="ADAL" clId="{DCFA0F75-6FFC-4729-B44E-60F774108FB8}" dt="2024-11-11T18:50:05.327" v="1480" actId="164"/>
          <ac:grpSpMkLst>
            <pc:docMk/>
            <pc:sldMk cId="3560795068" sldId="2145706936"/>
            <ac:grpSpMk id="25" creationId="{DE8DF8DA-FAD6-6881-6EB4-2B4DBD601645}"/>
          </ac:grpSpMkLst>
        </pc:grpChg>
        <pc:picChg chg="mod">
          <ac:chgData name="Ulrik Harnisch" userId="9e8d4388-1ad6-42ce-84d4-a406a1bf355f" providerId="ADAL" clId="{DCFA0F75-6FFC-4729-B44E-60F774108FB8}" dt="2024-11-11T18:50:05.920" v="1481" actId="164"/>
          <ac:picMkLst>
            <pc:docMk/>
            <pc:sldMk cId="3560795068" sldId="2145706936"/>
            <ac:picMk id="4" creationId="{003D26AF-B7AE-BC54-4654-A416E384BA24}"/>
          </ac:picMkLst>
        </pc:picChg>
        <pc:picChg chg="del mod topLvl">
          <ac:chgData name="Ulrik Harnisch" userId="9e8d4388-1ad6-42ce-84d4-a406a1bf355f" providerId="ADAL" clId="{DCFA0F75-6FFC-4729-B44E-60F774108FB8}" dt="2024-11-12T07:29:11.350" v="1564" actId="478"/>
          <ac:picMkLst>
            <pc:docMk/>
            <pc:sldMk cId="3560795068" sldId="2145706936"/>
            <ac:picMk id="5" creationId="{497E3CC8-7474-5658-3A09-374CC8BAE89B}"/>
          </ac:picMkLst>
        </pc:picChg>
        <pc:picChg chg="mod">
          <ac:chgData name="Ulrik Harnisch" userId="9e8d4388-1ad6-42ce-84d4-a406a1bf355f" providerId="ADAL" clId="{DCFA0F75-6FFC-4729-B44E-60F774108FB8}" dt="2024-11-11T18:50:05.327" v="1480" actId="164"/>
          <ac:picMkLst>
            <pc:docMk/>
            <pc:sldMk cId="3560795068" sldId="2145706936"/>
            <ac:picMk id="13" creationId="{246C040A-2FEF-2843-1FAC-228778739756}"/>
          </ac:picMkLst>
        </pc:picChg>
        <pc:picChg chg="add mod">
          <ac:chgData name="Ulrik Harnisch" userId="9e8d4388-1ad6-42ce-84d4-a406a1bf355f" providerId="ADAL" clId="{DCFA0F75-6FFC-4729-B44E-60F774108FB8}" dt="2024-11-12T07:29:11.745" v="1565"/>
          <ac:picMkLst>
            <pc:docMk/>
            <pc:sldMk cId="3560795068" sldId="2145706936"/>
            <ac:picMk id="26" creationId="{50C0E9FB-FB78-A504-D8A4-649096461026}"/>
          </ac:picMkLst>
        </pc:picChg>
      </pc:sldChg>
      <pc:sldChg chg="add del">
        <pc:chgData name="Ulrik Harnisch" userId="9e8d4388-1ad6-42ce-84d4-a406a1bf355f" providerId="ADAL" clId="{DCFA0F75-6FFC-4729-B44E-60F774108FB8}" dt="2024-11-11T18:43:06.563" v="1415" actId="47"/>
        <pc:sldMkLst>
          <pc:docMk/>
          <pc:sldMk cId="3706474078" sldId="2145706937"/>
        </pc:sldMkLst>
      </pc:sldChg>
      <pc:sldChg chg="add del">
        <pc:chgData name="Ulrik Harnisch" userId="9e8d4388-1ad6-42ce-84d4-a406a1bf355f" providerId="ADAL" clId="{DCFA0F75-6FFC-4729-B44E-60F774108FB8}" dt="2024-11-11T18:43:06.563" v="1415" actId="47"/>
        <pc:sldMkLst>
          <pc:docMk/>
          <pc:sldMk cId="4255650842" sldId="2145706938"/>
        </pc:sldMkLst>
      </pc:sldChg>
      <pc:sldChg chg="add del">
        <pc:chgData name="Ulrik Harnisch" userId="9e8d4388-1ad6-42ce-84d4-a406a1bf355f" providerId="ADAL" clId="{DCFA0F75-6FFC-4729-B44E-60F774108FB8}" dt="2024-11-11T18:43:06.563" v="1415" actId="47"/>
        <pc:sldMkLst>
          <pc:docMk/>
          <pc:sldMk cId="3666980786" sldId="2145706939"/>
        </pc:sldMkLst>
      </pc:sldChg>
      <pc:sldChg chg="add del">
        <pc:chgData name="Ulrik Harnisch" userId="9e8d4388-1ad6-42ce-84d4-a406a1bf355f" providerId="ADAL" clId="{DCFA0F75-6FFC-4729-B44E-60F774108FB8}" dt="2024-11-11T18:43:06.563" v="1415" actId="47"/>
        <pc:sldMkLst>
          <pc:docMk/>
          <pc:sldMk cId="3213145448" sldId="2145706940"/>
        </pc:sldMkLst>
      </pc:sldChg>
      <pc:sldChg chg="del ord">
        <pc:chgData name="Ulrik Harnisch" userId="9e8d4388-1ad6-42ce-84d4-a406a1bf355f" providerId="ADAL" clId="{DCFA0F75-6FFC-4729-B44E-60F774108FB8}" dt="2024-11-11T18:32:45.656" v="812" actId="47"/>
        <pc:sldMkLst>
          <pc:docMk/>
          <pc:sldMk cId="2788028862" sldId="2145706942"/>
        </pc:sldMkLst>
      </pc:sldChg>
      <pc:sldChg chg="add del">
        <pc:chgData name="Ulrik Harnisch" userId="9e8d4388-1ad6-42ce-84d4-a406a1bf355f" providerId="ADAL" clId="{DCFA0F75-6FFC-4729-B44E-60F774108FB8}" dt="2024-11-11T18:43:06.563" v="1415" actId="47"/>
        <pc:sldMkLst>
          <pc:docMk/>
          <pc:sldMk cId="1810822543" sldId="2145706943"/>
        </pc:sldMkLst>
      </pc:sldChg>
      <pc:sldChg chg="add del">
        <pc:chgData name="Ulrik Harnisch" userId="9e8d4388-1ad6-42ce-84d4-a406a1bf355f" providerId="ADAL" clId="{DCFA0F75-6FFC-4729-B44E-60F774108FB8}" dt="2024-11-11T18:43:06.563" v="1415" actId="47"/>
        <pc:sldMkLst>
          <pc:docMk/>
          <pc:sldMk cId="3982239652" sldId="2145706944"/>
        </pc:sldMkLst>
      </pc:sldChg>
      <pc:sldChg chg="add del">
        <pc:chgData name="Ulrik Harnisch" userId="9e8d4388-1ad6-42ce-84d4-a406a1bf355f" providerId="ADAL" clId="{DCFA0F75-6FFC-4729-B44E-60F774108FB8}" dt="2024-11-11T18:43:06.563" v="1415" actId="47"/>
        <pc:sldMkLst>
          <pc:docMk/>
          <pc:sldMk cId="2984096964" sldId="2145706948"/>
        </pc:sldMkLst>
      </pc:sldChg>
      <pc:sldChg chg="add del">
        <pc:chgData name="Ulrik Harnisch" userId="9e8d4388-1ad6-42ce-84d4-a406a1bf355f" providerId="ADAL" clId="{DCFA0F75-6FFC-4729-B44E-60F774108FB8}" dt="2024-11-11T18:43:06.563" v="1415" actId="47"/>
        <pc:sldMkLst>
          <pc:docMk/>
          <pc:sldMk cId="4046950233" sldId="2145706950"/>
        </pc:sldMkLst>
      </pc:sldChg>
      <pc:sldChg chg="add del">
        <pc:chgData name="Ulrik Harnisch" userId="9e8d4388-1ad6-42ce-84d4-a406a1bf355f" providerId="ADAL" clId="{DCFA0F75-6FFC-4729-B44E-60F774108FB8}" dt="2024-11-11T18:43:06.563" v="1415" actId="47"/>
        <pc:sldMkLst>
          <pc:docMk/>
          <pc:sldMk cId="3532346988" sldId="2145706951"/>
        </pc:sldMkLst>
      </pc:sldChg>
      <pc:sldChg chg="add del">
        <pc:chgData name="Ulrik Harnisch" userId="9e8d4388-1ad6-42ce-84d4-a406a1bf355f" providerId="ADAL" clId="{DCFA0F75-6FFC-4729-B44E-60F774108FB8}" dt="2024-11-11T18:43:06.563" v="1415" actId="47"/>
        <pc:sldMkLst>
          <pc:docMk/>
          <pc:sldMk cId="2196763261" sldId="2145706952"/>
        </pc:sldMkLst>
      </pc:sldChg>
      <pc:sldChg chg="add del">
        <pc:chgData name="Ulrik Harnisch" userId="9e8d4388-1ad6-42ce-84d4-a406a1bf355f" providerId="ADAL" clId="{DCFA0F75-6FFC-4729-B44E-60F774108FB8}" dt="2024-11-11T18:43:06.563" v="1415" actId="47"/>
        <pc:sldMkLst>
          <pc:docMk/>
          <pc:sldMk cId="913315893" sldId="2145706953"/>
        </pc:sldMkLst>
      </pc:sldChg>
      <pc:sldChg chg="add del">
        <pc:chgData name="Ulrik Harnisch" userId="9e8d4388-1ad6-42ce-84d4-a406a1bf355f" providerId="ADAL" clId="{DCFA0F75-6FFC-4729-B44E-60F774108FB8}" dt="2024-11-11T18:43:06.563" v="1415" actId="47"/>
        <pc:sldMkLst>
          <pc:docMk/>
          <pc:sldMk cId="2010438864" sldId="2145706954"/>
        </pc:sldMkLst>
      </pc:sldChg>
      <pc:sldChg chg="add del">
        <pc:chgData name="Ulrik Harnisch" userId="9e8d4388-1ad6-42ce-84d4-a406a1bf355f" providerId="ADAL" clId="{DCFA0F75-6FFC-4729-B44E-60F774108FB8}" dt="2024-11-11T18:43:06.563" v="1415" actId="47"/>
        <pc:sldMkLst>
          <pc:docMk/>
          <pc:sldMk cId="233033488" sldId="2145706955"/>
        </pc:sldMkLst>
      </pc:sldChg>
      <pc:sldChg chg="add del">
        <pc:chgData name="Ulrik Harnisch" userId="9e8d4388-1ad6-42ce-84d4-a406a1bf355f" providerId="ADAL" clId="{DCFA0F75-6FFC-4729-B44E-60F774108FB8}" dt="2024-11-11T18:43:06.563" v="1415" actId="47"/>
        <pc:sldMkLst>
          <pc:docMk/>
          <pc:sldMk cId="212620439" sldId="2145706956"/>
        </pc:sldMkLst>
      </pc:sldChg>
      <pc:sldChg chg="add del">
        <pc:chgData name="Ulrik Harnisch" userId="9e8d4388-1ad6-42ce-84d4-a406a1bf355f" providerId="ADAL" clId="{DCFA0F75-6FFC-4729-B44E-60F774108FB8}" dt="2024-11-11T18:43:06.563" v="1415" actId="47"/>
        <pc:sldMkLst>
          <pc:docMk/>
          <pc:sldMk cId="3764899468" sldId="2145706957"/>
        </pc:sldMkLst>
      </pc:sldChg>
      <pc:sldChg chg="add del">
        <pc:chgData name="Ulrik Harnisch" userId="9e8d4388-1ad6-42ce-84d4-a406a1bf355f" providerId="ADAL" clId="{DCFA0F75-6FFC-4729-B44E-60F774108FB8}" dt="2024-11-11T18:43:06.563" v="1415" actId="47"/>
        <pc:sldMkLst>
          <pc:docMk/>
          <pc:sldMk cId="1098181643" sldId="2145706958"/>
        </pc:sldMkLst>
      </pc:sldChg>
      <pc:sldChg chg="add del">
        <pc:chgData name="Ulrik Harnisch" userId="9e8d4388-1ad6-42ce-84d4-a406a1bf355f" providerId="ADAL" clId="{DCFA0F75-6FFC-4729-B44E-60F774108FB8}" dt="2024-11-11T18:43:06.563" v="1415" actId="47"/>
        <pc:sldMkLst>
          <pc:docMk/>
          <pc:sldMk cId="499458922" sldId="2145706959"/>
        </pc:sldMkLst>
      </pc:sldChg>
      <pc:sldChg chg="add del">
        <pc:chgData name="Ulrik Harnisch" userId="9e8d4388-1ad6-42ce-84d4-a406a1bf355f" providerId="ADAL" clId="{DCFA0F75-6FFC-4729-B44E-60F774108FB8}" dt="2024-11-11T18:43:06.563" v="1415" actId="47"/>
        <pc:sldMkLst>
          <pc:docMk/>
          <pc:sldMk cId="1495628393" sldId="2145706960"/>
        </pc:sldMkLst>
      </pc:sldChg>
      <pc:sldChg chg="add del">
        <pc:chgData name="Ulrik Harnisch" userId="9e8d4388-1ad6-42ce-84d4-a406a1bf355f" providerId="ADAL" clId="{DCFA0F75-6FFC-4729-B44E-60F774108FB8}" dt="2024-11-11T18:43:06.563" v="1415" actId="47"/>
        <pc:sldMkLst>
          <pc:docMk/>
          <pc:sldMk cId="2556513595" sldId="2145706961"/>
        </pc:sldMkLst>
      </pc:sldChg>
      <pc:sldChg chg="addSp delSp modSp mod ord modTransition setBg delAnim modAnim chgLayout">
        <pc:chgData name="Ulrik Harnisch" userId="9e8d4388-1ad6-42ce-84d4-a406a1bf355f" providerId="ADAL" clId="{DCFA0F75-6FFC-4729-B44E-60F774108FB8}" dt="2024-11-13T14:55:45.917" v="1743" actId="20577"/>
        <pc:sldMkLst>
          <pc:docMk/>
          <pc:sldMk cId="3295283738" sldId="2145706962"/>
        </pc:sldMkLst>
        <pc:spChg chg="mod ord">
          <ac:chgData name="Ulrik Harnisch" userId="9e8d4388-1ad6-42ce-84d4-a406a1bf355f" providerId="ADAL" clId="{DCFA0F75-6FFC-4729-B44E-60F774108FB8}" dt="2024-11-11T18:11:55.773" v="50" actId="20577"/>
          <ac:spMkLst>
            <pc:docMk/>
            <pc:sldMk cId="3295283738" sldId="2145706962"/>
            <ac:spMk id="2" creationId="{E15FCE9D-21FF-E50C-7173-8B356BC4A6CB}"/>
          </ac:spMkLst>
        </pc:spChg>
        <pc:spChg chg="add del mod ord">
          <ac:chgData name="Ulrik Harnisch" userId="9e8d4388-1ad6-42ce-84d4-a406a1bf355f" providerId="ADAL" clId="{DCFA0F75-6FFC-4729-B44E-60F774108FB8}" dt="2024-11-11T18:09:19.813" v="26" actId="700"/>
          <ac:spMkLst>
            <pc:docMk/>
            <pc:sldMk cId="3295283738" sldId="2145706962"/>
            <ac:spMk id="3" creationId="{417664B5-82C1-C4B3-E757-F93EF2AE7ABC}"/>
          </ac:spMkLst>
        </pc:spChg>
        <pc:spChg chg="add mod">
          <ac:chgData name="Ulrik Harnisch" userId="9e8d4388-1ad6-42ce-84d4-a406a1bf355f" providerId="ADAL" clId="{DCFA0F75-6FFC-4729-B44E-60F774108FB8}" dt="2024-11-13T14:53:54.493" v="1680" actId="255"/>
          <ac:spMkLst>
            <pc:docMk/>
            <pc:sldMk cId="3295283738" sldId="2145706962"/>
            <ac:spMk id="6" creationId="{40CCA58A-341E-7AF6-FC5E-25923A466965}"/>
          </ac:spMkLst>
        </pc:spChg>
        <pc:spChg chg="add mod">
          <ac:chgData name="Ulrik Harnisch" userId="9e8d4388-1ad6-42ce-84d4-a406a1bf355f" providerId="ADAL" clId="{DCFA0F75-6FFC-4729-B44E-60F774108FB8}" dt="2024-11-11T18:23:31.206" v="644" actId="164"/>
          <ac:spMkLst>
            <pc:docMk/>
            <pc:sldMk cId="3295283738" sldId="2145706962"/>
            <ac:spMk id="6" creationId="{DD4FC822-33D2-9B16-4512-7D4C161B0F78}"/>
          </ac:spMkLst>
        </pc:spChg>
        <pc:spChg chg="add mod">
          <ac:chgData name="Ulrik Harnisch" userId="9e8d4388-1ad6-42ce-84d4-a406a1bf355f" providerId="ADAL" clId="{DCFA0F75-6FFC-4729-B44E-60F774108FB8}" dt="2024-11-13T14:55:45.917" v="1743" actId="20577"/>
          <ac:spMkLst>
            <pc:docMk/>
            <pc:sldMk cId="3295283738" sldId="2145706962"/>
            <ac:spMk id="7" creationId="{BC4E6CC4-1E85-1A45-15FD-B0C71B178219}"/>
          </ac:spMkLst>
        </pc:spChg>
        <pc:spChg chg="add del mod topLvl">
          <ac:chgData name="Ulrik Harnisch" userId="9e8d4388-1ad6-42ce-84d4-a406a1bf355f" providerId="ADAL" clId="{DCFA0F75-6FFC-4729-B44E-60F774108FB8}" dt="2024-11-12T07:26:01.114" v="1557" actId="478"/>
          <ac:spMkLst>
            <pc:docMk/>
            <pc:sldMk cId="3295283738" sldId="2145706962"/>
            <ac:spMk id="7" creationId="{EC812499-DC40-8DA2-D311-03A8D6D2115A}"/>
          </ac:spMkLst>
        </pc:spChg>
        <pc:spChg chg="add mod">
          <ac:chgData name="Ulrik Harnisch" userId="9e8d4388-1ad6-42ce-84d4-a406a1bf355f" providerId="ADAL" clId="{DCFA0F75-6FFC-4729-B44E-60F774108FB8}" dt="2024-11-11T19:14:00.776" v="1510" actId="164"/>
          <ac:spMkLst>
            <pc:docMk/>
            <pc:sldMk cId="3295283738" sldId="2145706962"/>
            <ac:spMk id="14" creationId="{E3712FF9-3139-747D-75FB-4F240F01BB4A}"/>
          </ac:spMkLst>
        </pc:spChg>
        <pc:spChg chg="add mod">
          <ac:chgData name="Ulrik Harnisch" userId="9e8d4388-1ad6-42ce-84d4-a406a1bf355f" providerId="ADAL" clId="{DCFA0F75-6FFC-4729-B44E-60F774108FB8}" dt="2024-11-11T19:14:10.028" v="1511" actId="164"/>
          <ac:spMkLst>
            <pc:docMk/>
            <pc:sldMk cId="3295283738" sldId="2145706962"/>
            <ac:spMk id="15" creationId="{0965E369-89DA-01E5-8436-C9871FB057F4}"/>
          </ac:spMkLst>
        </pc:spChg>
        <pc:spChg chg="add mod">
          <ac:chgData name="Ulrik Harnisch" userId="9e8d4388-1ad6-42ce-84d4-a406a1bf355f" providerId="ADAL" clId="{DCFA0F75-6FFC-4729-B44E-60F774108FB8}" dt="2024-11-11T19:14:00.776" v="1510" actId="164"/>
          <ac:spMkLst>
            <pc:docMk/>
            <pc:sldMk cId="3295283738" sldId="2145706962"/>
            <ac:spMk id="16" creationId="{4A5354BF-5937-51D2-A6C9-B138512CBA31}"/>
          </ac:spMkLst>
        </pc:spChg>
        <pc:spChg chg="add mod">
          <ac:chgData name="Ulrik Harnisch" userId="9e8d4388-1ad6-42ce-84d4-a406a1bf355f" providerId="ADAL" clId="{DCFA0F75-6FFC-4729-B44E-60F774108FB8}" dt="2024-11-11T19:14:10.028" v="1511" actId="164"/>
          <ac:spMkLst>
            <pc:docMk/>
            <pc:sldMk cId="3295283738" sldId="2145706962"/>
            <ac:spMk id="19" creationId="{3A0F8EEF-E9C3-3C9B-820B-270A2CB19C9C}"/>
          </ac:spMkLst>
        </pc:spChg>
        <pc:spChg chg="add mod">
          <ac:chgData name="Ulrik Harnisch" userId="9e8d4388-1ad6-42ce-84d4-a406a1bf355f" providerId="ADAL" clId="{DCFA0F75-6FFC-4729-B44E-60F774108FB8}" dt="2024-11-11T19:14:30.449" v="1512" actId="164"/>
          <ac:spMkLst>
            <pc:docMk/>
            <pc:sldMk cId="3295283738" sldId="2145706962"/>
            <ac:spMk id="20" creationId="{D1A20BF4-FD2A-C80A-641B-93EB9C948C8C}"/>
          </ac:spMkLst>
        </pc:spChg>
        <pc:spChg chg="mod">
          <ac:chgData name="Ulrik Harnisch" userId="9e8d4388-1ad6-42ce-84d4-a406a1bf355f" providerId="ADAL" clId="{DCFA0F75-6FFC-4729-B44E-60F774108FB8}" dt="2024-11-11T18:23:15.989" v="641" actId="164"/>
          <ac:spMkLst>
            <pc:docMk/>
            <pc:sldMk cId="3295283738" sldId="2145706962"/>
            <ac:spMk id="21" creationId="{30723269-BA27-8783-8A99-E3F43428D3CF}"/>
          </ac:spMkLst>
        </pc:spChg>
        <pc:spChg chg="mod">
          <ac:chgData name="Ulrik Harnisch" userId="9e8d4388-1ad6-42ce-84d4-a406a1bf355f" providerId="ADAL" clId="{DCFA0F75-6FFC-4729-B44E-60F774108FB8}" dt="2024-11-11T18:24:21.250" v="653" actId="6549"/>
          <ac:spMkLst>
            <pc:docMk/>
            <pc:sldMk cId="3295283738" sldId="2145706962"/>
            <ac:spMk id="22" creationId="{B0794CD2-359A-5822-E75E-5B010B8629D7}"/>
          </ac:spMkLst>
        </pc:spChg>
        <pc:spChg chg="add mod">
          <ac:chgData name="Ulrik Harnisch" userId="9e8d4388-1ad6-42ce-84d4-a406a1bf355f" providerId="ADAL" clId="{DCFA0F75-6FFC-4729-B44E-60F774108FB8}" dt="2024-11-11T19:14:30.449" v="1512" actId="164"/>
          <ac:spMkLst>
            <pc:docMk/>
            <pc:sldMk cId="3295283738" sldId="2145706962"/>
            <ac:spMk id="23" creationId="{0DF59A09-F22C-C1B1-81D5-8C25171EF225}"/>
          </ac:spMkLst>
        </pc:spChg>
        <pc:spChg chg="mod">
          <ac:chgData name="Ulrik Harnisch" userId="9e8d4388-1ad6-42ce-84d4-a406a1bf355f" providerId="ADAL" clId="{DCFA0F75-6FFC-4729-B44E-60F774108FB8}" dt="2024-11-11T18:23:21.017" v="642" actId="164"/>
          <ac:spMkLst>
            <pc:docMk/>
            <pc:sldMk cId="3295283738" sldId="2145706962"/>
            <ac:spMk id="25" creationId="{5D9DFA1A-70E8-289D-F336-ADB1E0BA3E7C}"/>
          </ac:spMkLst>
        </pc:spChg>
        <pc:spChg chg="add mod">
          <ac:chgData name="Ulrik Harnisch" userId="9e8d4388-1ad6-42ce-84d4-a406a1bf355f" providerId="ADAL" clId="{DCFA0F75-6FFC-4729-B44E-60F774108FB8}" dt="2024-11-11T19:14:39.079" v="1513" actId="164"/>
          <ac:spMkLst>
            <pc:docMk/>
            <pc:sldMk cId="3295283738" sldId="2145706962"/>
            <ac:spMk id="28" creationId="{CD2B1488-3AD3-87EC-CBC2-29D7AA10D3C6}"/>
          </ac:spMkLst>
        </pc:spChg>
        <pc:spChg chg="add mod">
          <ac:chgData name="Ulrik Harnisch" userId="9e8d4388-1ad6-42ce-84d4-a406a1bf355f" providerId="ADAL" clId="{DCFA0F75-6FFC-4729-B44E-60F774108FB8}" dt="2024-11-11T19:14:39.079" v="1513" actId="164"/>
          <ac:spMkLst>
            <pc:docMk/>
            <pc:sldMk cId="3295283738" sldId="2145706962"/>
            <ac:spMk id="29" creationId="{8389F20E-5772-DFFA-9331-A8EB482E9CD9}"/>
          </ac:spMkLst>
        </pc:spChg>
        <pc:spChg chg="del mod topLvl">
          <ac:chgData name="Ulrik Harnisch" userId="9e8d4388-1ad6-42ce-84d4-a406a1bf355f" providerId="ADAL" clId="{DCFA0F75-6FFC-4729-B44E-60F774108FB8}" dt="2024-11-12T07:26:01.114" v="1557" actId="478"/>
          <ac:spMkLst>
            <pc:docMk/>
            <pc:sldMk cId="3295283738" sldId="2145706962"/>
            <ac:spMk id="39" creationId="{1C7D4447-77FF-09E6-67CD-DCDD446F4F95}"/>
          </ac:spMkLst>
        </pc:spChg>
        <pc:spChg chg="del mod topLvl">
          <ac:chgData name="Ulrik Harnisch" userId="9e8d4388-1ad6-42ce-84d4-a406a1bf355f" providerId="ADAL" clId="{DCFA0F75-6FFC-4729-B44E-60F774108FB8}" dt="2024-11-12T07:26:01.114" v="1557" actId="478"/>
          <ac:spMkLst>
            <pc:docMk/>
            <pc:sldMk cId="3295283738" sldId="2145706962"/>
            <ac:spMk id="40" creationId="{976D2185-9379-469C-9CD6-FC71C65470C1}"/>
          </ac:spMkLst>
        </pc:spChg>
        <pc:spChg chg="del mod topLvl">
          <ac:chgData name="Ulrik Harnisch" userId="9e8d4388-1ad6-42ce-84d4-a406a1bf355f" providerId="ADAL" clId="{DCFA0F75-6FFC-4729-B44E-60F774108FB8}" dt="2024-11-12T07:26:01.114" v="1557" actId="478"/>
          <ac:spMkLst>
            <pc:docMk/>
            <pc:sldMk cId="3295283738" sldId="2145706962"/>
            <ac:spMk id="41" creationId="{5E47C0BF-CB4B-E291-22CF-210782F1008B}"/>
          </ac:spMkLst>
        </pc:spChg>
        <pc:grpChg chg="add del mod">
          <ac:chgData name="Ulrik Harnisch" userId="9e8d4388-1ad6-42ce-84d4-a406a1bf355f" providerId="ADAL" clId="{DCFA0F75-6FFC-4729-B44E-60F774108FB8}" dt="2024-11-11T18:28:13.876" v="705" actId="165"/>
          <ac:grpSpMkLst>
            <pc:docMk/>
            <pc:sldMk cId="3295283738" sldId="2145706962"/>
            <ac:grpSpMk id="8" creationId="{09EFF2D6-7D73-F7A7-03EF-AF842C0C6579}"/>
          </ac:grpSpMkLst>
        </pc:grpChg>
        <pc:grpChg chg="add del mod">
          <ac:chgData name="Ulrik Harnisch" userId="9e8d4388-1ad6-42ce-84d4-a406a1bf355f" providerId="ADAL" clId="{DCFA0F75-6FFC-4729-B44E-60F774108FB8}" dt="2024-11-11T18:24:18.540" v="651" actId="478"/>
          <ac:grpSpMkLst>
            <pc:docMk/>
            <pc:sldMk cId="3295283738" sldId="2145706962"/>
            <ac:grpSpMk id="9" creationId="{9CCE3B5B-7904-90CC-EA90-3F66CA1A7D4C}"/>
          </ac:grpSpMkLst>
        </pc:grpChg>
        <pc:grpChg chg="add del mod">
          <ac:chgData name="Ulrik Harnisch" userId="9e8d4388-1ad6-42ce-84d4-a406a1bf355f" providerId="ADAL" clId="{DCFA0F75-6FFC-4729-B44E-60F774108FB8}" dt="2024-11-11T18:24:19.700" v="652" actId="478"/>
          <ac:grpSpMkLst>
            <pc:docMk/>
            <pc:sldMk cId="3295283738" sldId="2145706962"/>
            <ac:grpSpMk id="10" creationId="{5DBF923E-3D93-51EB-DA34-1D958C428BF5}"/>
          </ac:grpSpMkLst>
        </pc:grpChg>
        <pc:grpChg chg="add del mod">
          <ac:chgData name="Ulrik Harnisch" userId="9e8d4388-1ad6-42ce-84d4-a406a1bf355f" providerId="ADAL" clId="{DCFA0F75-6FFC-4729-B44E-60F774108FB8}" dt="2024-11-11T18:24:23.457" v="655" actId="478"/>
          <ac:grpSpMkLst>
            <pc:docMk/>
            <pc:sldMk cId="3295283738" sldId="2145706962"/>
            <ac:grpSpMk id="11" creationId="{64018C30-7CC4-9DE1-2DA5-21C4B9FDF2A8}"/>
          </ac:grpSpMkLst>
        </pc:grpChg>
        <pc:grpChg chg="add del mod">
          <ac:chgData name="Ulrik Harnisch" userId="9e8d4388-1ad6-42ce-84d4-a406a1bf355f" providerId="ADAL" clId="{DCFA0F75-6FFC-4729-B44E-60F774108FB8}" dt="2024-11-11T18:24:22.578" v="654" actId="478"/>
          <ac:grpSpMkLst>
            <pc:docMk/>
            <pc:sldMk cId="3295283738" sldId="2145706962"/>
            <ac:grpSpMk id="13" creationId="{4B6DFB9B-B717-07C6-3CAF-BF0E96D744D4}"/>
          </ac:grpSpMkLst>
        </pc:grpChg>
        <pc:grpChg chg="add del mod">
          <ac:chgData name="Ulrik Harnisch" userId="9e8d4388-1ad6-42ce-84d4-a406a1bf355f" providerId="ADAL" clId="{DCFA0F75-6FFC-4729-B44E-60F774108FB8}" dt="2024-11-13T14:46:51.167" v="1567" actId="478"/>
          <ac:grpSpMkLst>
            <pc:docMk/>
            <pc:sldMk cId="3295283738" sldId="2145706962"/>
            <ac:grpSpMk id="30" creationId="{782FA28B-07FD-B750-06F0-050D8C7390CE}"/>
          </ac:grpSpMkLst>
        </pc:grpChg>
        <pc:grpChg chg="add del mod">
          <ac:chgData name="Ulrik Harnisch" userId="9e8d4388-1ad6-42ce-84d4-a406a1bf355f" providerId="ADAL" clId="{DCFA0F75-6FFC-4729-B44E-60F774108FB8}" dt="2024-11-13T14:46:51.167" v="1567" actId="478"/>
          <ac:grpSpMkLst>
            <pc:docMk/>
            <pc:sldMk cId="3295283738" sldId="2145706962"/>
            <ac:grpSpMk id="31" creationId="{D3E56326-3981-680F-034A-2E7A0A34B664}"/>
          </ac:grpSpMkLst>
        </pc:grpChg>
        <pc:grpChg chg="add del mod">
          <ac:chgData name="Ulrik Harnisch" userId="9e8d4388-1ad6-42ce-84d4-a406a1bf355f" providerId="ADAL" clId="{DCFA0F75-6FFC-4729-B44E-60F774108FB8}" dt="2024-11-13T14:46:51.167" v="1567" actId="478"/>
          <ac:grpSpMkLst>
            <pc:docMk/>
            <pc:sldMk cId="3295283738" sldId="2145706962"/>
            <ac:grpSpMk id="32" creationId="{3405E6AD-03BE-F88E-E273-593646C8708B}"/>
          </ac:grpSpMkLst>
        </pc:grpChg>
        <pc:grpChg chg="add del mod">
          <ac:chgData name="Ulrik Harnisch" userId="9e8d4388-1ad6-42ce-84d4-a406a1bf355f" providerId="ADAL" clId="{DCFA0F75-6FFC-4729-B44E-60F774108FB8}" dt="2024-11-13T14:46:51.167" v="1567" actId="478"/>
          <ac:grpSpMkLst>
            <pc:docMk/>
            <pc:sldMk cId="3295283738" sldId="2145706962"/>
            <ac:grpSpMk id="33" creationId="{FA9EC448-8915-3BE9-93A0-768BE388F024}"/>
          </ac:grpSpMkLst>
        </pc:grpChg>
        <pc:grpChg chg="del mod topLvl">
          <ac:chgData name="Ulrik Harnisch" userId="9e8d4388-1ad6-42ce-84d4-a406a1bf355f" providerId="ADAL" clId="{DCFA0F75-6FFC-4729-B44E-60F774108FB8}" dt="2024-11-11T18:28:21.953" v="706" actId="165"/>
          <ac:grpSpMkLst>
            <pc:docMk/>
            <pc:sldMk cId="3295283738" sldId="2145706962"/>
            <ac:grpSpMk id="38" creationId="{875978F0-E341-CCF8-8E0C-64386F9B7F85}"/>
          </ac:grpSpMkLst>
        </pc:grpChg>
        <pc:picChg chg="add mod">
          <ac:chgData name="Ulrik Harnisch" userId="9e8d4388-1ad6-42ce-84d4-a406a1bf355f" providerId="ADAL" clId="{DCFA0F75-6FFC-4729-B44E-60F774108FB8}" dt="2024-11-11T18:23:31.206" v="644" actId="164"/>
          <ac:picMkLst>
            <pc:docMk/>
            <pc:sldMk cId="3295283738" sldId="2145706962"/>
            <ac:picMk id="4" creationId="{206B0AC3-2927-13FD-F01A-6E8685C498AB}"/>
          </ac:picMkLst>
        </pc:picChg>
        <pc:picChg chg="add mod ord">
          <ac:chgData name="Ulrik Harnisch" userId="9e8d4388-1ad6-42ce-84d4-a406a1bf355f" providerId="ADAL" clId="{DCFA0F75-6FFC-4729-B44E-60F774108FB8}" dt="2024-11-13T14:48:34.159" v="1581" actId="1076"/>
          <ac:picMkLst>
            <pc:docMk/>
            <pc:sldMk cId="3295283738" sldId="2145706962"/>
            <ac:picMk id="4" creationId="{8E25CCAE-BEFC-EAAC-3AAB-10D1C0D89A8F}"/>
          </ac:picMkLst>
        </pc:picChg>
        <pc:picChg chg="mod">
          <ac:chgData name="Ulrik Harnisch" userId="9e8d4388-1ad6-42ce-84d4-a406a1bf355f" providerId="ADAL" clId="{DCFA0F75-6FFC-4729-B44E-60F774108FB8}" dt="2024-11-11T18:23:15.989" v="641" actId="164"/>
          <ac:picMkLst>
            <pc:docMk/>
            <pc:sldMk cId="3295283738" sldId="2145706962"/>
            <ac:picMk id="12" creationId="{540EB206-A78B-F648-FFC6-436611EDB63E}"/>
          </ac:picMkLst>
        </pc:picChg>
        <pc:picChg chg="mod">
          <ac:chgData name="Ulrik Harnisch" userId="9e8d4388-1ad6-42ce-84d4-a406a1bf355f" providerId="ADAL" clId="{DCFA0F75-6FFC-4729-B44E-60F774108FB8}" dt="2024-11-11T18:23:21.017" v="642" actId="164"/>
          <ac:picMkLst>
            <pc:docMk/>
            <pc:sldMk cId="3295283738" sldId="2145706962"/>
            <ac:picMk id="17" creationId="{3BA33A30-63C7-D5A5-67E8-F22D05E1EA15}"/>
          </ac:picMkLst>
        </pc:picChg>
        <pc:picChg chg="mod">
          <ac:chgData name="Ulrik Harnisch" userId="9e8d4388-1ad6-42ce-84d4-a406a1bf355f" providerId="ADAL" clId="{DCFA0F75-6FFC-4729-B44E-60F774108FB8}" dt="2024-11-11T18:23:26.536" v="643" actId="164"/>
          <ac:picMkLst>
            <pc:docMk/>
            <pc:sldMk cId="3295283738" sldId="2145706962"/>
            <ac:picMk id="18" creationId="{FB014AB9-678F-042B-21F8-F599D4B0623A}"/>
          </ac:picMkLst>
        </pc:picChg>
        <pc:cxnChg chg="add del mod">
          <ac:chgData name="Ulrik Harnisch" userId="9e8d4388-1ad6-42ce-84d4-a406a1bf355f" providerId="ADAL" clId="{DCFA0F75-6FFC-4729-B44E-60F774108FB8}" dt="2024-11-13T14:46:51.167" v="1567" actId="478"/>
          <ac:cxnSpMkLst>
            <pc:docMk/>
            <pc:sldMk cId="3295283738" sldId="2145706962"/>
            <ac:cxnSpMk id="24" creationId="{E24CE120-EF20-9995-7894-61CFE6393EAD}"/>
          </ac:cxnSpMkLst>
        </pc:cxnChg>
        <pc:cxnChg chg="add del mod">
          <ac:chgData name="Ulrik Harnisch" userId="9e8d4388-1ad6-42ce-84d4-a406a1bf355f" providerId="ADAL" clId="{DCFA0F75-6FFC-4729-B44E-60F774108FB8}" dt="2024-11-13T14:46:51.167" v="1567" actId="478"/>
          <ac:cxnSpMkLst>
            <pc:docMk/>
            <pc:sldMk cId="3295283738" sldId="2145706962"/>
            <ac:cxnSpMk id="26" creationId="{317F8D04-57CF-B91A-97A1-E88C14D22E10}"/>
          </ac:cxnSpMkLst>
        </pc:cxnChg>
        <pc:cxnChg chg="add del mod">
          <ac:chgData name="Ulrik Harnisch" userId="9e8d4388-1ad6-42ce-84d4-a406a1bf355f" providerId="ADAL" clId="{DCFA0F75-6FFC-4729-B44E-60F774108FB8}" dt="2024-11-13T14:46:51.167" v="1567" actId="478"/>
          <ac:cxnSpMkLst>
            <pc:docMk/>
            <pc:sldMk cId="3295283738" sldId="2145706962"/>
            <ac:cxnSpMk id="27" creationId="{2888AAF7-35A8-0EDC-4949-AFBCE8C30880}"/>
          </ac:cxnSpMkLst>
        </pc:cxnChg>
      </pc:sldChg>
      <pc:sldChg chg="add del">
        <pc:chgData name="Ulrik Harnisch" userId="9e8d4388-1ad6-42ce-84d4-a406a1bf355f" providerId="ADAL" clId="{DCFA0F75-6FFC-4729-B44E-60F774108FB8}" dt="2024-11-11T18:43:06.563" v="1415" actId="47"/>
        <pc:sldMkLst>
          <pc:docMk/>
          <pc:sldMk cId="4090782241" sldId="2145706963"/>
        </pc:sldMkLst>
      </pc:sldChg>
      <pc:sldChg chg="add del">
        <pc:chgData name="Ulrik Harnisch" userId="9e8d4388-1ad6-42ce-84d4-a406a1bf355f" providerId="ADAL" clId="{DCFA0F75-6FFC-4729-B44E-60F774108FB8}" dt="2024-11-11T18:43:06.563" v="1415" actId="47"/>
        <pc:sldMkLst>
          <pc:docMk/>
          <pc:sldMk cId="1927574570" sldId="2145706964"/>
        </pc:sldMkLst>
      </pc:sldChg>
      <pc:sldChg chg="add del">
        <pc:chgData name="Ulrik Harnisch" userId="9e8d4388-1ad6-42ce-84d4-a406a1bf355f" providerId="ADAL" clId="{DCFA0F75-6FFC-4729-B44E-60F774108FB8}" dt="2024-11-11T18:43:06.563" v="1415" actId="47"/>
        <pc:sldMkLst>
          <pc:docMk/>
          <pc:sldMk cId="2074448775" sldId="2145706966"/>
        </pc:sldMkLst>
      </pc:sldChg>
      <pc:sldChg chg="add del">
        <pc:chgData name="Ulrik Harnisch" userId="9e8d4388-1ad6-42ce-84d4-a406a1bf355f" providerId="ADAL" clId="{DCFA0F75-6FFC-4729-B44E-60F774108FB8}" dt="2024-11-11T18:43:06.563" v="1415" actId="47"/>
        <pc:sldMkLst>
          <pc:docMk/>
          <pc:sldMk cId="875998278" sldId="2145706967"/>
        </pc:sldMkLst>
      </pc:sldChg>
      <pc:sldChg chg="addSp delSp modSp del mod">
        <pc:chgData name="Ulrik Harnisch" userId="9e8d4388-1ad6-42ce-84d4-a406a1bf355f" providerId="ADAL" clId="{DCFA0F75-6FFC-4729-B44E-60F774108FB8}" dt="2024-11-11T18:08:31.801" v="22" actId="47"/>
        <pc:sldMkLst>
          <pc:docMk/>
          <pc:sldMk cId="386710487" sldId="2145706969"/>
        </pc:sldMkLst>
        <pc:spChg chg="mod topLvl">
          <ac:chgData name="Ulrik Harnisch" userId="9e8d4388-1ad6-42ce-84d4-a406a1bf355f" providerId="ADAL" clId="{DCFA0F75-6FFC-4729-B44E-60F774108FB8}" dt="2024-11-11T18:07:52.777" v="17" actId="165"/>
          <ac:spMkLst>
            <pc:docMk/>
            <pc:sldMk cId="386710487" sldId="2145706969"/>
            <ac:spMk id="11" creationId="{AF015FE1-8534-9445-2AF8-8EDEB5F90A66}"/>
          </ac:spMkLst>
        </pc:spChg>
        <pc:spChg chg="mod">
          <ac:chgData name="Ulrik Harnisch" userId="9e8d4388-1ad6-42ce-84d4-a406a1bf355f" providerId="ADAL" clId="{DCFA0F75-6FFC-4729-B44E-60F774108FB8}" dt="2024-11-11T18:07:23.761" v="7" actId="20577"/>
          <ac:spMkLst>
            <pc:docMk/>
            <pc:sldMk cId="386710487" sldId="2145706969"/>
            <ac:spMk id="14" creationId="{5B89652A-8F33-FA0F-21CA-024EBAFF5DF2}"/>
          </ac:spMkLst>
        </pc:spChg>
        <pc:spChg chg="mod">
          <ac:chgData name="Ulrik Harnisch" userId="9e8d4388-1ad6-42ce-84d4-a406a1bf355f" providerId="ADAL" clId="{DCFA0F75-6FFC-4729-B44E-60F774108FB8}" dt="2024-11-11T18:07:28.165" v="16" actId="20577"/>
          <ac:spMkLst>
            <pc:docMk/>
            <pc:sldMk cId="386710487" sldId="2145706969"/>
            <ac:spMk id="18" creationId="{3D524ACD-F7BE-937F-EDDF-89CB26A48DB1}"/>
          </ac:spMkLst>
        </pc:spChg>
        <pc:grpChg chg="del">
          <ac:chgData name="Ulrik Harnisch" userId="9e8d4388-1ad6-42ce-84d4-a406a1bf355f" providerId="ADAL" clId="{DCFA0F75-6FFC-4729-B44E-60F774108FB8}" dt="2024-11-11T18:07:52.777" v="17" actId="165"/>
          <ac:grpSpMkLst>
            <pc:docMk/>
            <pc:sldMk cId="386710487" sldId="2145706969"/>
            <ac:grpSpMk id="10" creationId="{AB37CDEE-7F8B-BF28-C7A5-9F19BDF491D3}"/>
          </ac:grpSpMkLst>
        </pc:grpChg>
        <pc:picChg chg="add mod">
          <ac:chgData name="Ulrik Harnisch" userId="9e8d4388-1ad6-42ce-84d4-a406a1bf355f" providerId="ADAL" clId="{DCFA0F75-6FFC-4729-B44E-60F774108FB8}" dt="2024-11-11T18:08:16.157" v="21" actId="1076"/>
          <ac:picMkLst>
            <pc:docMk/>
            <pc:sldMk cId="386710487" sldId="2145706969"/>
            <ac:picMk id="8" creationId="{723081F2-B2D5-C7F4-E45D-DF519A3F34B1}"/>
          </ac:picMkLst>
        </pc:picChg>
        <pc:picChg chg="del mod topLvl">
          <ac:chgData name="Ulrik Harnisch" userId="9e8d4388-1ad6-42ce-84d4-a406a1bf355f" providerId="ADAL" clId="{DCFA0F75-6FFC-4729-B44E-60F774108FB8}" dt="2024-11-11T18:07:55.091" v="18" actId="478"/>
          <ac:picMkLst>
            <pc:docMk/>
            <pc:sldMk cId="386710487" sldId="2145706969"/>
            <ac:picMk id="12" creationId="{C08A6FB1-47AC-A266-6C87-339CB0DA49E7}"/>
          </ac:picMkLst>
        </pc:picChg>
      </pc:sldChg>
      <pc:sldChg chg="add del">
        <pc:chgData name="Ulrik Harnisch" userId="9e8d4388-1ad6-42ce-84d4-a406a1bf355f" providerId="ADAL" clId="{DCFA0F75-6FFC-4729-B44E-60F774108FB8}" dt="2024-11-11T18:43:20.345" v="1417" actId="47"/>
        <pc:sldMkLst>
          <pc:docMk/>
          <pc:sldMk cId="631142228" sldId="2145706970"/>
        </pc:sldMkLst>
      </pc:sldChg>
      <pc:sldChg chg="add del">
        <pc:chgData name="Ulrik Harnisch" userId="9e8d4388-1ad6-42ce-84d4-a406a1bf355f" providerId="ADAL" clId="{DCFA0F75-6FFC-4729-B44E-60F774108FB8}" dt="2024-11-11T18:43:20.345" v="1417" actId="47"/>
        <pc:sldMkLst>
          <pc:docMk/>
          <pc:sldMk cId="3669660080" sldId="2145706972"/>
        </pc:sldMkLst>
      </pc:sldChg>
      <pc:sldChg chg="add del">
        <pc:chgData name="Ulrik Harnisch" userId="9e8d4388-1ad6-42ce-84d4-a406a1bf355f" providerId="ADAL" clId="{DCFA0F75-6FFC-4729-B44E-60F774108FB8}" dt="2024-11-11T18:43:27.121" v="1418" actId="47"/>
        <pc:sldMkLst>
          <pc:docMk/>
          <pc:sldMk cId="3396543478" sldId="2145706975"/>
        </pc:sldMkLst>
      </pc:sldChg>
      <pc:sldChg chg="add del">
        <pc:chgData name="Ulrik Harnisch" userId="9e8d4388-1ad6-42ce-84d4-a406a1bf355f" providerId="ADAL" clId="{DCFA0F75-6FFC-4729-B44E-60F774108FB8}" dt="2024-11-11T18:43:20.345" v="1417" actId="47"/>
        <pc:sldMkLst>
          <pc:docMk/>
          <pc:sldMk cId="729205683" sldId="2145706977"/>
        </pc:sldMkLst>
      </pc:sldChg>
      <pc:sldChg chg="add del">
        <pc:chgData name="Ulrik Harnisch" userId="9e8d4388-1ad6-42ce-84d4-a406a1bf355f" providerId="ADAL" clId="{DCFA0F75-6FFC-4729-B44E-60F774108FB8}" dt="2024-11-11T18:43:20.345" v="1417" actId="47"/>
        <pc:sldMkLst>
          <pc:docMk/>
          <pc:sldMk cId="2527741932" sldId="2145706979"/>
        </pc:sldMkLst>
      </pc:sldChg>
      <pc:sldChg chg="add del">
        <pc:chgData name="Ulrik Harnisch" userId="9e8d4388-1ad6-42ce-84d4-a406a1bf355f" providerId="ADAL" clId="{DCFA0F75-6FFC-4729-B44E-60F774108FB8}" dt="2024-11-11T18:43:27.121" v="1418" actId="47"/>
        <pc:sldMkLst>
          <pc:docMk/>
          <pc:sldMk cId="4005710903" sldId="2145706980"/>
        </pc:sldMkLst>
      </pc:sldChg>
      <pc:sldChg chg="add del">
        <pc:chgData name="Ulrik Harnisch" userId="9e8d4388-1ad6-42ce-84d4-a406a1bf355f" providerId="ADAL" clId="{DCFA0F75-6FFC-4729-B44E-60F774108FB8}" dt="2024-11-11T18:43:27.121" v="1418" actId="47"/>
        <pc:sldMkLst>
          <pc:docMk/>
          <pc:sldMk cId="1576421800" sldId="2145706981"/>
        </pc:sldMkLst>
      </pc:sldChg>
      <pc:sldChg chg="add del">
        <pc:chgData name="Ulrik Harnisch" userId="9e8d4388-1ad6-42ce-84d4-a406a1bf355f" providerId="ADAL" clId="{DCFA0F75-6FFC-4729-B44E-60F774108FB8}" dt="2024-11-11T18:43:20.345" v="1417" actId="47"/>
        <pc:sldMkLst>
          <pc:docMk/>
          <pc:sldMk cId="2387190065" sldId="2145706982"/>
        </pc:sldMkLst>
      </pc:sldChg>
      <pc:sldChg chg="add del">
        <pc:chgData name="Ulrik Harnisch" userId="9e8d4388-1ad6-42ce-84d4-a406a1bf355f" providerId="ADAL" clId="{DCFA0F75-6FFC-4729-B44E-60F774108FB8}" dt="2024-11-11T18:43:06.563" v="1415" actId="47"/>
        <pc:sldMkLst>
          <pc:docMk/>
          <pc:sldMk cId="1745410462" sldId="2145706983"/>
        </pc:sldMkLst>
      </pc:sldChg>
      <pc:sldChg chg="add del">
        <pc:chgData name="Ulrik Harnisch" userId="9e8d4388-1ad6-42ce-84d4-a406a1bf355f" providerId="ADAL" clId="{DCFA0F75-6FFC-4729-B44E-60F774108FB8}" dt="2024-11-11T18:43:27.121" v="1418" actId="47"/>
        <pc:sldMkLst>
          <pc:docMk/>
          <pc:sldMk cId="3428578182" sldId="2145706984"/>
        </pc:sldMkLst>
      </pc:sldChg>
      <pc:sldChg chg="add del">
        <pc:chgData name="Ulrik Harnisch" userId="9e8d4388-1ad6-42ce-84d4-a406a1bf355f" providerId="ADAL" clId="{DCFA0F75-6FFC-4729-B44E-60F774108FB8}" dt="2024-11-11T18:43:27.121" v="1418" actId="47"/>
        <pc:sldMkLst>
          <pc:docMk/>
          <pc:sldMk cId="540596576" sldId="2145706985"/>
        </pc:sldMkLst>
      </pc:sldChg>
      <pc:sldChg chg="add del">
        <pc:chgData name="Ulrik Harnisch" userId="9e8d4388-1ad6-42ce-84d4-a406a1bf355f" providerId="ADAL" clId="{DCFA0F75-6FFC-4729-B44E-60F774108FB8}" dt="2024-11-11T18:43:27.121" v="1418" actId="47"/>
        <pc:sldMkLst>
          <pc:docMk/>
          <pc:sldMk cId="4181881481" sldId="2145706986"/>
        </pc:sldMkLst>
      </pc:sldChg>
      <pc:sldChg chg="add del">
        <pc:chgData name="Ulrik Harnisch" userId="9e8d4388-1ad6-42ce-84d4-a406a1bf355f" providerId="ADAL" clId="{DCFA0F75-6FFC-4729-B44E-60F774108FB8}" dt="2024-11-11T18:43:27.121" v="1418" actId="47"/>
        <pc:sldMkLst>
          <pc:docMk/>
          <pc:sldMk cId="2011758755" sldId="2145706987"/>
        </pc:sldMkLst>
      </pc:sldChg>
      <pc:sldChg chg="add del">
        <pc:chgData name="Ulrik Harnisch" userId="9e8d4388-1ad6-42ce-84d4-a406a1bf355f" providerId="ADAL" clId="{DCFA0F75-6FFC-4729-B44E-60F774108FB8}" dt="2024-11-11T18:43:27.121" v="1418" actId="47"/>
        <pc:sldMkLst>
          <pc:docMk/>
          <pc:sldMk cId="638885164" sldId="2145706988"/>
        </pc:sldMkLst>
      </pc:sldChg>
      <pc:sldChg chg="add del">
        <pc:chgData name="Ulrik Harnisch" userId="9e8d4388-1ad6-42ce-84d4-a406a1bf355f" providerId="ADAL" clId="{DCFA0F75-6FFC-4729-B44E-60F774108FB8}" dt="2024-11-11T18:43:27.121" v="1418" actId="47"/>
        <pc:sldMkLst>
          <pc:docMk/>
          <pc:sldMk cId="1748231916" sldId="2145706989"/>
        </pc:sldMkLst>
      </pc:sldChg>
      <pc:sldChg chg="add del">
        <pc:chgData name="Ulrik Harnisch" userId="9e8d4388-1ad6-42ce-84d4-a406a1bf355f" providerId="ADAL" clId="{DCFA0F75-6FFC-4729-B44E-60F774108FB8}" dt="2024-11-11T18:43:27.121" v="1418" actId="47"/>
        <pc:sldMkLst>
          <pc:docMk/>
          <pc:sldMk cId="1850079630" sldId="2145706990"/>
        </pc:sldMkLst>
      </pc:sldChg>
      <pc:sldChg chg="add del">
        <pc:chgData name="Ulrik Harnisch" userId="9e8d4388-1ad6-42ce-84d4-a406a1bf355f" providerId="ADAL" clId="{DCFA0F75-6FFC-4729-B44E-60F774108FB8}" dt="2024-11-11T18:43:27.121" v="1418" actId="47"/>
        <pc:sldMkLst>
          <pc:docMk/>
          <pc:sldMk cId="1683568807" sldId="2145706991"/>
        </pc:sldMkLst>
      </pc:sldChg>
      <pc:sldChg chg="modSp mod">
        <pc:chgData name="Ulrik Harnisch" userId="9e8d4388-1ad6-42ce-84d4-a406a1bf355f" providerId="ADAL" clId="{DCFA0F75-6FFC-4729-B44E-60F774108FB8}" dt="2024-11-11T19:16:32.132" v="1551" actId="20577"/>
        <pc:sldMkLst>
          <pc:docMk/>
          <pc:sldMk cId="2101314735" sldId="2145706993"/>
        </pc:sldMkLst>
        <pc:spChg chg="mod">
          <ac:chgData name="Ulrik Harnisch" userId="9e8d4388-1ad6-42ce-84d4-a406a1bf355f" providerId="ADAL" clId="{DCFA0F75-6FFC-4729-B44E-60F774108FB8}" dt="2024-11-11T19:16:32.132" v="1551" actId="20577"/>
          <ac:spMkLst>
            <pc:docMk/>
            <pc:sldMk cId="2101314735" sldId="2145706993"/>
            <ac:spMk id="8" creationId="{9355853F-763B-54C2-31E5-D4C157FBF27D}"/>
          </ac:spMkLst>
        </pc:spChg>
      </pc:sldChg>
      <pc:sldChg chg="add del">
        <pc:chgData name="Ulrik Harnisch" userId="9e8d4388-1ad6-42ce-84d4-a406a1bf355f" providerId="ADAL" clId="{DCFA0F75-6FFC-4729-B44E-60F774108FB8}" dt="2024-11-11T18:43:27.121" v="1418" actId="47"/>
        <pc:sldMkLst>
          <pc:docMk/>
          <pc:sldMk cId="3561988511" sldId="2145706994"/>
        </pc:sldMkLst>
      </pc:sldChg>
      <pc:sldChg chg="add del">
        <pc:chgData name="Ulrik Harnisch" userId="9e8d4388-1ad6-42ce-84d4-a406a1bf355f" providerId="ADAL" clId="{DCFA0F75-6FFC-4729-B44E-60F774108FB8}" dt="2024-11-11T18:43:29.216" v="1419" actId="47"/>
        <pc:sldMkLst>
          <pc:docMk/>
          <pc:sldMk cId="2793370369" sldId="2145706995"/>
        </pc:sldMkLst>
      </pc:sldChg>
      <pc:sldChg chg="add del">
        <pc:chgData name="Ulrik Harnisch" userId="9e8d4388-1ad6-42ce-84d4-a406a1bf355f" providerId="ADAL" clId="{DCFA0F75-6FFC-4729-B44E-60F774108FB8}" dt="2024-11-11T18:43:27.121" v="1418" actId="47"/>
        <pc:sldMkLst>
          <pc:docMk/>
          <pc:sldMk cId="3210056574" sldId="2145706997"/>
        </pc:sldMkLst>
      </pc:sldChg>
      <pc:sldChg chg="add del">
        <pc:chgData name="Ulrik Harnisch" userId="9e8d4388-1ad6-42ce-84d4-a406a1bf355f" providerId="ADAL" clId="{DCFA0F75-6FFC-4729-B44E-60F774108FB8}" dt="2024-11-11T18:43:27.121" v="1418" actId="47"/>
        <pc:sldMkLst>
          <pc:docMk/>
          <pc:sldMk cId="3868055959" sldId="2145706998"/>
        </pc:sldMkLst>
      </pc:sldChg>
      <pc:sldChg chg="add del">
        <pc:chgData name="Ulrik Harnisch" userId="9e8d4388-1ad6-42ce-84d4-a406a1bf355f" providerId="ADAL" clId="{DCFA0F75-6FFC-4729-B44E-60F774108FB8}" dt="2024-11-11T18:43:27.121" v="1418" actId="47"/>
        <pc:sldMkLst>
          <pc:docMk/>
          <pc:sldMk cId="4182662173" sldId="2145707000"/>
        </pc:sldMkLst>
      </pc:sldChg>
      <pc:sldChg chg="add del">
        <pc:chgData name="Ulrik Harnisch" userId="9e8d4388-1ad6-42ce-84d4-a406a1bf355f" providerId="ADAL" clId="{DCFA0F75-6FFC-4729-B44E-60F774108FB8}" dt="2024-11-11T18:43:27.121" v="1418" actId="47"/>
        <pc:sldMkLst>
          <pc:docMk/>
          <pc:sldMk cId="3815972812" sldId="2145707001"/>
        </pc:sldMkLst>
      </pc:sldChg>
      <pc:sldChg chg="addSp delSp modSp add mod modTransition">
        <pc:chgData name="Ulrik Harnisch" userId="9e8d4388-1ad6-42ce-84d4-a406a1bf355f" providerId="ADAL" clId="{DCFA0F75-6FFC-4729-B44E-60F774108FB8}" dt="2024-11-12T07:25:49.949" v="1552" actId="478"/>
        <pc:sldMkLst>
          <pc:docMk/>
          <pc:sldMk cId="62741190" sldId="2145707002"/>
        </pc:sldMkLst>
        <pc:spChg chg="mod">
          <ac:chgData name="Ulrik Harnisch" userId="9e8d4388-1ad6-42ce-84d4-a406a1bf355f" providerId="ADAL" clId="{DCFA0F75-6FFC-4729-B44E-60F774108FB8}" dt="2024-11-11T18:40:40.543" v="1377" actId="20577"/>
          <ac:spMkLst>
            <pc:docMk/>
            <pc:sldMk cId="62741190" sldId="2145707002"/>
            <ac:spMk id="2" creationId="{F7EDF02E-D9E6-204D-57D2-A165C3C79872}"/>
          </ac:spMkLst>
        </pc:spChg>
        <pc:spChg chg="add del mod">
          <ac:chgData name="Ulrik Harnisch" userId="9e8d4388-1ad6-42ce-84d4-a406a1bf355f" providerId="ADAL" clId="{DCFA0F75-6FFC-4729-B44E-60F774108FB8}" dt="2024-11-12T07:25:49.949" v="1552" actId="478"/>
          <ac:spMkLst>
            <pc:docMk/>
            <pc:sldMk cId="62741190" sldId="2145707002"/>
            <ac:spMk id="3" creationId="{C8AB2ACB-726C-3B1F-4224-F2876AA25A97}"/>
          </ac:spMkLst>
        </pc:spChg>
        <pc:spChg chg="mod">
          <ac:chgData name="Ulrik Harnisch" userId="9e8d4388-1ad6-42ce-84d4-a406a1bf355f" providerId="ADAL" clId="{DCFA0F75-6FFC-4729-B44E-60F774108FB8}" dt="2024-11-11T18:47:54.822" v="1476" actId="20577"/>
          <ac:spMkLst>
            <pc:docMk/>
            <pc:sldMk cId="62741190" sldId="2145707002"/>
            <ac:spMk id="6" creationId="{EB6ABC1B-79EB-3465-C6D3-86D4E381D7FE}"/>
          </ac:spMkLst>
        </pc:spChg>
        <pc:spChg chg="add del mod">
          <ac:chgData name="Ulrik Harnisch" userId="9e8d4388-1ad6-42ce-84d4-a406a1bf355f" providerId="ADAL" clId="{DCFA0F75-6FFC-4729-B44E-60F774108FB8}" dt="2024-11-12T07:25:49.949" v="1552" actId="478"/>
          <ac:spMkLst>
            <pc:docMk/>
            <pc:sldMk cId="62741190" sldId="2145707002"/>
            <ac:spMk id="14" creationId="{82D60CB1-F58F-B24B-F6E0-479BD1F559D0}"/>
          </ac:spMkLst>
        </pc:spChg>
        <pc:spChg chg="add del mod">
          <ac:chgData name="Ulrik Harnisch" userId="9e8d4388-1ad6-42ce-84d4-a406a1bf355f" providerId="ADAL" clId="{DCFA0F75-6FFC-4729-B44E-60F774108FB8}" dt="2024-11-12T07:25:49.949" v="1552" actId="478"/>
          <ac:spMkLst>
            <pc:docMk/>
            <pc:sldMk cId="62741190" sldId="2145707002"/>
            <ac:spMk id="15" creationId="{539ACF49-159E-C177-DEE5-3A56855A80DF}"/>
          </ac:spMkLst>
        </pc:spChg>
        <pc:spChg chg="add del mod">
          <ac:chgData name="Ulrik Harnisch" userId="9e8d4388-1ad6-42ce-84d4-a406a1bf355f" providerId="ADAL" clId="{DCFA0F75-6FFC-4729-B44E-60F774108FB8}" dt="2024-11-12T07:25:49.949" v="1552" actId="478"/>
          <ac:spMkLst>
            <pc:docMk/>
            <pc:sldMk cId="62741190" sldId="2145707002"/>
            <ac:spMk id="16" creationId="{C7631392-CDA0-D283-4FBF-414C778B8F17}"/>
          </ac:spMkLst>
        </pc:spChg>
        <pc:spChg chg="add del mod">
          <ac:chgData name="Ulrik Harnisch" userId="9e8d4388-1ad6-42ce-84d4-a406a1bf355f" providerId="ADAL" clId="{DCFA0F75-6FFC-4729-B44E-60F774108FB8}" dt="2024-11-11T18:40:35.127" v="1369" actId="478"/>
          <ac:spMkLst>
            <pc:docMk/>
            <pc:sldMk cId="62741190" sldId="2145707002"/>
            <ac:spMk id="19" creationId="{85B87D06-43C2-5BAF-F9B4-74542B7EBDD8}"/>
          </ac:spMkLst>
        </pc:spChg>
        <pc:spChg chg="add del mod">
          <ac:chgData name="Ulrik Harnisch" userId="9e8d4388-1ad6-42ce-84d4-a406a1bf355f" providerId="ADAL" clId="{DCFA0F75-6FFC-4729-B44E-60F774108FB8}" dt="2024-11-11T18:40:35.127" v="1369" actId="478"/>
          <ac:spMkLst>
            <pc:docMk/>
            <pc:sldMk cId="62741190" sldId="2145707002"/>
            <ac:spMk id="20" creationId="{E8A6A820-93C0-F6DA-A5A9-E6DC615CE3A8}"/>
          </ac:spMkLst>
        </pc:spChg>
        <pc:spChg chg="mod">
          <ac:chgData name="Ulrik Harnisch" userId="9e8d4388-1ad6-42ce-84d4-a406a1bf355f" providerId="ADAL" clId="{DCFA0F75-6FFC-4729-B44E-60F774108FB8}" dt="2024-11-11T18:49:09.996" v="1477" actId="1076"/>
          <ac:spMkLst>
            <pc:docMk/>
            <pc:sldMk cId="62741190" sldId="2145707002"/>
            <ac:spMk id="22" creationId="{952227EE-AA0E-4BC4-632F-25D4B519F64D}"/>
          </ac:spMkLst>
        </pc:spChg>
        <pc:spChg chg="add del mod">
          <ac:chgData name="Ulrik Harnisch" userId="9e8d4388-1ad6-42ce-84d4-a406a1bf355f" providerId="ADAL" clId="{DCFA0F75-6FFC-4729-B44E-60F774108FB8}" dt="2024-11-11T18:40:35.127" v="1369" actId="478"/>
          <ac:spMkLst>
            <pc:docMk/>
            <pc:sldMk cId="62741190" sldId="2145707002"/>
            <ac:spMk id="23" creationId="{45F7FDDC-0B73-45C1-B7B9-EA5FD35A92F4}"/>
          </ac:spMkLst>
        </pc:spChg>
        <pc:spChg chg="add del mod">
          <ac:chgData name="Ulrik Harnisch" userId="9e8d4388-1ad6-42ce-84d4-a406a1bf355f" providerId="ADAL" clId="{DCFA0F75-6FFC-4729-B44E-60F774108FB8}" dt="2024-11-11T18:40:35.127" v="1369" actId="478"/>
          <ac:spMkLst>
            <pc:docMk/>
            <pc:sldMk cId="62741190" sldId="2145707002"/>
            <ac:spMk id="24" creationId="{3D2EF52B-8CA9-4AA3-D873-A6A7CFBDDAD1}"/>
          </ac:spMkLst>
        </pc:spChg>
        <pc:grpChg chg="del">
          <ac:chgData name="Ulrik Harnisch" userId="9e8d4388-1ad6-42ce-84d4-a406a1bf355f" providerId="ADAL" clId="{DCFA0F75-6FFC-4729-B44E-60F774108FB8}" dt="2024-11-11T18:40:09.049" v="1354" actId="478"/>
          <ac:grpSpMkLst>
            <pc:docMk/>
            <pc:sldMk cId="62741190" sldId="2145707002"/>
            <ac:grpSpMk id="8" creationId="{F3CB681C-CDC4-DED6-D08E-98EC300A5A00}"/>
          </ac:grpSpMkLst>
        </pc:grpChg>
        <pc:picChg chg="mod">
          <ac:chgData name="Ulrik Harnisch" userId="9e8d4388-1ad6-42ce-84d4-a406a1bf355f" providerId="ADAL" clId="{DCFA0F75-6FFC-4729-B44E-60F774108FB8}" dt="2024-11-11T18:47:02.170" v="1474" actId="208"/>
          <ac:picMkLst>
            <pc:docMk/>
            <pc:sldMk cId="62741190" sldId="2145707002"/>
            <ac:picMk id="18" creationId="{A1910E2E-4283-66B4-0672-675F6F0CD27E}"/>
          </ac:picMkLst>
        </pc:picChg>
      </pc:sldChg>
      <pc:sldChg chg="addSp delSp modSp add mod delAnim">
        <pc:chgData name="Ulrik Harnisch" userId="9e8d4388-1ad6-42ce-84d4-a406a1bf355f" providerId="ADAL" clId="{DCFA0F75-6FFC-4729-B44E-60F774108FB8}" dt="2024-11-13T15:00:10.667" v="1852" actId="20577"/>
        <pc:sldMkLst>
          <pc:docMk/>
          <pc:sldMk cId="2287832356" sldId="2145707003"/>
        </pc:sldMkLst>
        <pc:spChg chg="mod">
          <ac:chgData name="Ulrik Harnisch" userId="9e8d4388-1ad6-42ce-84d4-a406a1bf355f" providerId="ADAL" clId="{DCFA0F75-6FFC-4729-B44E-60F774108FB8}" dt="2024-11-11T18:43:42.660" v="1435" actId="20577"/>
          <ac:spMkLst>
            <pc:docMk/>
            <pc:sldMk cId="2287832356" sldId="2145707003"/>
            <ac:spMk id="2" creationId="{42CC9305-E76D-77AA-A2F0-9342794C7B8D}"/>
          </ac:spMkLst>
        </pc:spChg>
        <pc:spChg chg="del mod">
          <ac:chgData name="Ulrik Harnisch" userId="9e8d4388-1ad6-42ce-84d4-a406a1bf355f" providerId="ADAL" clId="{DCFA0F75-6FFC-4729-B44E-60F774108FB8}" dt="2024-11-12T07:26:05.056" v="1558" actId="478"/>
          <ac:spMkLst>
            <pc:docMk/>
            <pc:sldMk cId="2287832356" sldId="2145707003"/>
            <ac:spMk id="3" creationId="{F6264F2F-89C0-0032-4A93-68F06E648AAC}"/>
          </ac:spMkLst>
        </pc:spChg>
        <pc:spChg chg="add mod">
          <ac:chgData name="Ulrik Harnisch" userId="9e8d4388-1ad6-42ce-84d4-a406a1bf355f" providerId="ADAL" clId="{DCFA0F75-6FFC-4729-B44E-60F774108FB8}" dt="2024-11-13T15:00:10.667" v="1852" actId="20577"/>
          <ac:spMkLst>
            <pc:docMk/>
            <pc:sldMk cId="2287832356" sldId="2145707003"/>
            <ac:spMk id="6" creationId="{554D76AD-9C7F-98EB-C49C-369B2B0CA712}"/>
          </ac:spMkLst>
        </pc:spChg>
        <pc:spChg chg="add del mod">
          <ac:chgData name="Ulrik Harnisch" userId="9e8d4388-1ad6-42ce-84d4-a406a1bf355f" providerId="ADAL" clId="{DCFA0F75-6FFC-4729-B44E-60F774108FB8}" dt="2024-11-13T14:57:54.372" v="1750" actId="478"/>
          <ac:spMkLst>
            <pc:docMk/>
            <pc:sldMk cId="2287832356" sldId="2145707003"/>
            <ac:spMk id="8" creationId="{0AB557BB-5025-16C9-8859-6E2F6EE23C18}"/>
          </ac:spMkLst>
        </pc:spChg>
        <pc:spChg chg="del">
          <ac:chgData name="Ulrik Harnisch" userId="9e8d4388-1ad6-42ce-84d4-a406a1bf355f" providerId="ADAL" clId="{DCFA0F75-6FFC-4729-B44E-60F774108FB8}" dt="2024-11-12T07:26:05.056" v="1558" actId="478"/>
          <ac:spMkLst>
            <pc:docMk/>
            <pc:sldMk cId="2287832356" sldId="2145707003"/>
            <ac:spMk id="14" creationId="{27414C9E-C476-B168-D3C0-47ADADB46EED}"/>
          </ac:spMkLst>
        </pc:spChg>
        <pc:spChg chg="del">
          <ac:chgData name="Ulrik Harnisch" userId="9e8d4388-1ad6-42ce-84d4-a406a1bf355f" providerId="ADAL" clId="{DCFA0F75-6FFC-4729-B44E-60F774108FB8}" dt="2024-11-12T07:26:05.056" v="1558" actId="478"/>
          <ac:spMkLst>
            <pc:docMk/>
            <pc:sldMk cId="2287832356" sldId="2145707003"/>
            <ac:spMk id="15" creationId="{C7B0D412-1344-560C-07F8-1E12D6EB4D40}"/>
          </ac:spMkLst>
        </pc:spChg>
        <pc:spChg chg="del">
          <ac:chgData name="Ulrik Harnisch" userId="9e8d4388-1ad6-42ce-84d4-a406a1bf355f" providerId="ADAL" clId="{DCFA0F75-6FFC-4729-B44E-60F774108FB8}" dt="2024-11-12T07:26:05.056" v="1558" actId="478"/>
          <ac:spMkLst>
            <pc:docMk/>
            <pc:sldMk cId="2287832356" sldId="2145707003"/>
            <ac:spMk id="16" creationId="{13853D41-AF27-FEC8-4CA1-4C0886DF8036}"/>
          </ac:spMkLst>
        </pc:spChg>
        <pc:spChg chg="add del mod">
          <ac:chgData name="Ulrik Harnisch" userId="9e8d4388-1ad6-42ce-84d4-a406a1bf355f" providerId="ADAL" clId="{DCFA0F75-6FFC-4729-B44E-60F774108FB8}" dt="2024-11-13T14:57:54.372" v="1750" actId="478"/>
          <ac:spMkLst>
            <pc:docMk/>
            <pc:sldMk cId="2287832356" sldId="2145707003"/>
            <ac:spMk id="19" creationId="{1D2D3288-B266-6B9C-41E4-13D39E7C36E3}"/>
          </ac:spMkLst>
        </pc:spChg>
        <pc:spChg chg="add del mod">
          <ac:chgData name="Ulrik Harnisch" userId="9e8d4388-1ad6-42ce-84d4-a406a1bf355f" providerId="ADAL" clId="{DCFA0F75-6FFC-4729-B44E-60F774108FB8}" dt="2024-11-13T14:57:54.372" v="1750" actId="478"/>
          <ac:spMkLst>
            <pc:docMk/>
            <pc:sldMk cId="2287832356" sldId="2145707003"/>
            <ac:spMk id="20" creationId="{5294A8B4-E1CE-4269-C18B-7BEE6706DBB8}"/>
          </ac:spMkLst>
        </pc:spChg>
        <pc:grpChg chg="del">
          <ac:chgData name="Ulrik Harnisch" userId="9e8d4388-1ad6-42ce-84d4-a406a1bf355f" providerId="ADAL" clId="{DCFA0F75-6FFC-4729-B44E-60F774108FB8}" dt="2024-11-11T18:42:27.034" v="1411" actId="478"/>
          <ac:grpSpMkLst>
            <pc:docMk/>
            <pc:sldMk cId="2287832356" sldId="2145707003"/>
            <ac:grpSpMk id="9" creationId="{BEDCC4FE-AF7B-7BCA-B8C0-E3A5696C54B8}"/>
          </ac:grpSpMkLst>
        </pc:grpChg>
        <pc:grpChg chg="del">
          <ac:chgData name="Ulrik Harnisch" userId="9e8d4388-1ad6-42ce-84d4-a406a1bf355f" providerId="ADAL" clId="{DCFA0F75-6FFC-4729-B44E-60F774108FB8}" dt="2024-11-11T18:42:27.034" v="1411" actId="478"/>
          <ac:grpSpMkLst>
            <pc:docMk/>
            <pc:sldMk cId="2287832356" sldId="2145707003"/>
            <ac:grpSpMk id="10" creationId="{018A15B8-D741-93EF-61D4-8EDEC118C501}"/>
          </ac:grpSpMkLst>
        </pc:grpChg>
        <pc:grpChg chg="del">
          <ac:chgData name="Ulrik Harnisch" userId="9e8d4388-1ad6-42ce-84d4-a406a1bf355f" providerId="ADAL" clId="{DCFA0F75-6FFC-4729-B44E-60F774108FB8}" dt="2024-11-11T18:42:27.034" v="1411" actId="478"/>
          <ac:grpSpMkLst>
            <pc:docMk/>
            <pc:sldMk cId="2287832356" sldId="2145707003"/>
            <ac:grpSpMk id="11" creationId="{71C42B0B-6BD3-45CC-5AC8-F8711E84C4A1}"/>
          </ac:grpSpMkLst>
        </pc:grpChg>
        <pc:grpChg chg="del">
          <ac:chgData name="Ulrik Harnisch" userId="9e8d4388-1ad6-42ce-84d4-a406a1bf355f" providerId="ADAL" clId="{DCFA0F75-6FFC-4729-B44E-60F774108FB8}" dt="2024-11-11T18:42:27.034" v="1411" actId="478"/>
          <ac:grpSpMkLst>
            <pc:docMk/>
            <pc:sldMk cId="2287832356" sldId="2145707003"/>
            <ac:grpSpMk id="13" creationId="{E257578B-EE7B-88A5-4CD9-5AD966D28377}"/>
          </ac:grpSpMkLst>
        </pc:grpChg>
        <pc:picChg chg="add mod">
          <ac:chgData name="Ulrik Harnisch" userId="9e8d4388-1ad6-42ce-84d4-a406a1bf355f" providerId="ADAL" clId="{DCFA0F75-6FFC-4729-B44E-60F774108FB8}" dt="2024-11-13T14:58:00.208" v="1751" actId="14100"/>
          <ac:picMkLst>
            <pc:docMk/>
            <pc:sldMk cId="2287832356" sldId="2145707003"/>
            <ac:picMk id="4" creationId="{372DFE07-2841-173E-9B7F-BF7EABE3029D}"/>
          </ac:picMkLst>
        </pc:picChg>
        <pc:picChg chg="add del mod">
          <ac:chgData name="Ulrik Harnisch" userId="9e8d4388-1ad6-42ce-84d4-a406a1bf355f" providerId="ADAL" clId="{DCFA0F75-6FFC-4729-B44E-60F774108FB8}" dt="2024-11-13T14:57:54.372" v="1750" actId="478"/>
          <ac:picMkLst>
            <pc:docMk/>
            <pc:sldMk cId="2287832356" sldId="2145707003"/>
            <ac:picMk id="7" creationId="{29D0FEC0-DA29-A364-EEDB-5AA3AC738BFF}"/>
          </ac:picMkLst>
        </pc:picChg>
      </pc:sldChg>
      <pc:sldChg chg="addSp delSp modSp add del mod addAnim delAnim">
        <pc:chgData name="Ulrik Harnisch" userId="9e8d4388-1ad6-42ce-84d4-a406a1bf355f" providerId="ADAL" clId="{DCFA0F75-6FFC-4729-B44E-60F774108FB8}" dt="2024-11-11T18:41:55.614" v="1404" actId="2890"/>
        <pc:sldMkLst>
          <pc:docMk/>
          <pc:sldMk cId="2730178810" sldId="2145707003"/>
        </pc:sldMkLst>
        <pc:spChg chg="mod">
          <ac:chgData name="Ulrik Harnisch" userId="9e8d4388-1ad6-42ce-84d4-a406a1bf355f" providerId="ADAL" clId="{DCFA0F75-6FFC-4729-B44E-60F774108FB8}" dt="2024-11-11T18:41:55.317" v="1403" actId="20577"/>
          <ac:spMkLst>
            <pc:docMk/>
            <pc:sldMk cId="2730178810" sldId="2145707003"/>
            <ac:spMk id="2" creationId="{5DFE0F84-D3C9-69EE-E272-07021309D478}"/>
          </ac:spMkLst>
        </pc:spChg>
        <pc:spChg chg="mod">
          <ac:chgData name="Ulrik Harnisch" userId="9e8d4388-1ad6-42ce-84d4-a406a1bf355f" providerId="ADAL" clId="{DCFA0F75-6FFC-4729-B44E-60F774108FB8}" dt="2024-11-11T18:41:55.177" v="1401" actId="6549"/>
          <ac:spMkLst>
            <pc:docMk/>
            <pc:sldMk cId="2730178810" sldId="2145707003"/>
            <ac:spMk id="25" creationId="{55670C2E-3292-2ABF-5564-783872599C5E}"/>
          </ac:spMkLst>
        </pc:spChg>
        <pc:grpChg chg="add del">
          <ac:chgData name="Ulrik Harnisch" userId="9e8d4388-1ad6-42ce-84d4-a406a1bf355f" providerId="ADAL" clId="{DCFA0F75-6FFC-4729-B44E-60F774108FB8}" dt="2024-11-11T18:41:55.193" v="1402" actId="478"/>
          <ac:grpSpMkLst>
            <pc:docMk/>
            <pc:sldMk cId="2730178810" sldId="2145707003"/>
            <ac:grpSpMk id="9" creationId="{6A8AE72B-91C8-AE8A-C83A-BD7F8806F181}"/>
          </ac:grpSpMkLst>
        </pc:grpChg>
        <pc:grpChg chg="add del">
          <ac:chgData name="Ulrik Harnisch" userId="9e8d4388-1ad6-42ce-84d4-a406a1bf355f" providerId="ADAL" clId="{DCFA0F75-6FFC-4729-B44E-60F774108FB8}" dt="2024-11-11T18:41:55.135" v="1400" actId="478"/>
          <ac:grpSpMkLst>
            <pc:docMk/>
            <pc:sldMk cId="2730178810" sldId="2145707003"/>
            <ac:grpSpMk id="10" creationId="{35B1D67E-4D24-7FCF-69D6-4138530F661B}"/>
          </ac:grpSpMkLst>
        </pc:grpChg>
        <pc:grpChg chg="add del">
          <ac:chgData name="Ulrik Harnisch" userId="9e8d4388-1ad6-42ce-84d4-a406a1bf355f" providerId="ADAL" clId="{DCFA0F75-6FFC-4729-B44E-60F774108FB8}" dt="2024-11-11T18:41:54.068" v="1398" actId="478"/>
          <ac:grpSpMkLst>
            <pc:docMk/>
            <pc:sldMk cId="2730178810" sldId="2145707003"/>
            <ac:grpSpMk id="11" creationId="{122CFAD3-BF33-50D3-8092-D5615B8611C2}"/>
          </ac:grpSpMkLst>
        </pc:grpChg>
        <pc:grpChg chg="add del">
          <ac:chgData name="Ulrik Harnisch" userId="9e8d4388-1ad6-42ce-84d4-a406a1bf355f" providerId="ADAL" clId="{DCFA0F75-6FFC-4729-B44E-60F774108FB8}" dt="2024-11-11T18:41:55.069" v="1399" actId="478"/>
          <ac:grpSpMkLst>
            <pc:docMk/>
            <pc:sldMk cId="2730178810" sldId="2145707003"/>
            <ac:grpSpMk id="13" creationId="{3D19B054-B455-0FF5-7FD9-B8C7B65EC56F}"/>
          </ac:grpSpMkLst>
        </pc:grpChg>
      </pc:sldChg>
      <pc:sldChg chg="add modAnim">
        <pc:chgData name="Ulrik Harnisch" userId="9e8d4388-1ad6-42ce-84d4-a406a1bf355f" providerId="ADAL" clId="{DCFA0F75-6FFC-4729-B44E-60F774108FB8}" dt="2024-11-13T15:21:21.407" v="1884"/>
        <pc:sldMkLst>
          <pc:docMk/>
          <pc:sldMk cId="1567023141" sldId="2145707004"/>
        </pc:sldMkLst>
      </pc:sldChg>
      <pc:sldChg chg="add">
        <pc:chgData name="Ulrik Harnisch" userId="9e8d4388-1ad6-42ce-84d4-a406a1bf355f" providerId="ADAL" clId="{DCFA0F75-6FFC-4729-B44E-60F774108FB8}" dt="2024-11-13T14:57:21.470" v="1744" actId="2890"/>
        <pc:sldMkLst>
          <pc:docMk/>
          <pc:sldMk cId="3187611129" sldId="2145707005"/>
        </pc:sldMkLst>
      </pc:sldChg>
      <pc:sldChg chg="addSp delSp modSp add mod">
        <pc:chgData name="Ulrik Harnisch" userId="9e8d4388-1ad6-42ce-84d4-a406a1bf355f" providerId="ADAL" clId="{DCFA0F75-6FFC-4729-B44E-60F774108FB8}" dt="2024-11-13T15:05:55.108" v="1872" actId="962"/>
        <pc:sldMkLst>
          <pc:docMk/>
          <pc:sldMk cId="2932939686" sldId="2145707006"/>
        </pc:sldMkLst>
        <pc:spChg chg="mod">
          <ac:chgData name="Ulrik Harnisch" userId="9e8d4388-1ad6-42ce-84d4-a406a1bf355f" providerId="ADAL" clId="{DCFA0F75-6FFC-4729-B44E-60F774108FB8}" dt="2024-11-13T15:05:33.056" v="1866" actId="20577"/>
          <ac:spMkLst>
            <pc:docMk/>
            <pc:sldMk cId="2932939686" sldId="2145707006"/>
            <ac:spMk id="2" creationId="{35D09895-4240-F1A8-BCEC-5E7F5FE19DBE}"/>
          </ac:spMkLst>
        </pc:spChg>
        <pc:spChg chg="del">
          <ac:chgData name="Ulrik Harnisch" userId="9e8d4388-1ad6-42ce-84d4-a406a1bf355f" providerId="ADAL" clId="{DCFA0F75-6FFC-4729-B44E-60F774108FB8}" dt="2024-11-13T15:05:27.618" v="1854" actId="478"/>
          <ac:spMkLst>
            <pc:docMk/>
            <pc:sldMk cId="2932939686" sldId="2145707006"/>
            <ac:spMk id="8" creationId="{0F1BF71A-29DF-DD26-4CC0-9C9F1F0E68FE}"/>
          </ac:spMkLst>
        </pc:spChg>
        <pc:spChg chg="del">
          <ac:chgData name="Ulrik Harnisch" userId="9e8d4388-1ad6-42ce-84d4-a406a1bf355f" providerId="ADAL" clId="{DCFA0F75-6FFC-4729-B44E-60F774108FB8}" dt="2024-11-13T15:05:27.618" v="1854" actId="478"/>
          <ac:spMkLst>
            <pc:docMk/>
            <pc:sldMk cId="2932939686" sldId="2145707006"/>
            <ac:spMk id="19" creationId="{5E8264CF-01AE-3961-3DA4-BF3E5924CD54}"/>
          </ac:spMkLst>
        </pc:spChg>
        <pc:spChg chg="del">
          <ac:chgData name="Ulrik Harnisch" userId="9e8d4388-1ad6-42ce-84d4-a406a1bf355f" providerId="ADAL" clId="{DCFA0F75-6FFC-4729-B44E-60F774108FB8}" dt="2024-11-13T15:05:27.618" v="1854" actId="478"/>
          <ac:spMkLst>
            <pc:docMk/>
            <pc:sldMk cId="2932939686" sldId="2145707006"/>
            <ac:spMk id="20" creationId="{AC6D2428-7B0A-43E0-FDB8-489D3FB0FF82}"/>
          </ac:spMkLst>
        </pc:spChg>
        <pc:picChg chg="add mod">
          <ac:chgData name="Ulrik Harnisch" userId="9e8d4388-1ad6-42ce-84d4-a406a1bf355f" providerId="ADAL" clId="{DCFA0F75-6FFC-4729-B44E-60F774108FB8}" dt="2024-11-13T15:05:55.108" v="1872" actId="962"/>
          <ac:picMkLst>
            <pc:docMk/>
            <pc:sldMk cId="2932939686" sldId="2145707006"/>
            <ac:picMk id="4" creationId="{8F7C36CE-A599-3074-90A8-3B5A8CFFF866}"/>
          </ac:picMkLst>
        </pc:picChg>
        <pc:picChg chg="del">
          <ac:chgData name="Ulrik Harnisch" userId="9e8d4388-1ad6-42ce-84d4-a406a1bf355f" providerId="ADAL" clId="{DCFA0F75-6FFC-4729-B44E-60F774108FB8}" dt="2024-11-13T15:05:27.618" v="1854" actId="478"/>
          <ac:picMkLst>
            <pc:docMk/>
            <pc:sldMk cId="2932939686" sldId="2145707006"/>
            <ac:picMk id="7" creationId="{53EDB3AC-1AC6-33D1-122E-D3EFB71BDCCA}"/>
          </ac:picMkLst>
        </pc:picChg>
      </pc:sldChg>
      <pc:sldChg chg="addSp delSp modSp add mod modShow">
        <pc:chgData name="Ulrik Harnisch" userId="9e8d4388-1ad6-42ce-84d4-a406a1bf355f" providerId="ADAL" clId="{DCFA0F75-6FFC-4729-B44E-60F774108FB8}" dt="2024-11-14T14:38:02.606" v="2767" actId="729"/>
        <pc:sldMkLst>
          <pc:docMk/>
          <pc:sldMk cId="1006624807" sldId="2145707007"/>
        </pc:sldMkLst>
        <pc:spChg chg="mod">
          <ac:chgData name="Ulrik Harnisch" userId="9e8d4388-1ad6-42ce-84d4-a406a1bf355f" providerId="ADAL" clId="{DCFA0F75-6FFC-4729-B44E-60F774108FB8}" dt="2024-11-14T14:23:21.608" v="1915" actId="20577"/>
          <ac:spMkLst>
            <pc:docMk/>
            <pc:sldMk cId="1006624807" sldId="2145707007"/>
            <ac:spMk id="2" creationId="{F652B6B1-CD60-24A8-281A-A8C649A29AAE}"/>
          </ac:spMkLst>
        </pc:spChg>
        <pc:spChg chg="del">
          <ac:chgData name="Ulrik Harnisch" userId="9e8d4388-1ad6-42ce-84d4-a406a1bf355f" providerId="ADAL" clId="{DCFA0F75-6FFC-4729-B44E-60F774108FB8}" dt="2024-11-14T14:23:26.157" v="1916" actId="478"/>
          <ac:spMkLst>
            <pc:docMk/>
            <pc:sldMk cId="1006624807" sldId="2145707007"/>
            <ac:spMk id="8" creationId="{9AAAC8C2-DDD2-2D40-4BF7-FD6CD2AFD446}"/>
          </ac:spMkLst>
        </pc:spChg>
        <pc:spChg chg="del">
          <ac:chgData name="Ulrik Harnisch" userId="9e8d4388-1ad6-42ce-84d4-a406a1bf355f" providerId="ADAL" clId="{DCFA0F75-6FFC-4729-B44E-60F774108FB8}" dt="2024-11-14T14:23:26.157" v="1916" actId="478"/>
          <ac:spMkLst>
            <pc:docMk/>
            <pc:sldMk cId="1006624807" sldId="2145707007"/>
            <ac:spMk id="19" creationId="{111AADBF-FB70-70D0-0139-628BC519E498}"/>
          </ac:spMkLst>
        </pc:spChg>
        <pc:spChg chg="del">
          <ac:chgData name="Ulrik Harnisch" userId="9e8d4388-1ad6-42ce-84d4-a406a1bf355f" providerId="ADAL" clId="{DCFA0F75-6FFC-4729-B44E-60F774108FB8}" dt="2024-11-14T14:23:26.157" v="1916" actId="478"/>
          <ac:spMkLst>
            <pc:docMk/>
            <pc:sldMk cId="1006624807" sldId="2145707007"/>
            <ac:spMk id="20" creationId="{513DF2E2-A0DA-F316-738B-F58A1A78B991}"/>
          </ac:spMkLst>
        </pc:spChg>
        <pc:picChg chg="add del">
          <ac:chgData name="Ulrik Harnisch" userId="9e8d4388-1ad6-42ce-84d4-a406a1bf355f" providerId="ADAL" clId="{DCFA0F75-6FFC-4729-B44E-60F774108FB8}" dt="2024-11-14T14:26:51.586" v="1919" actId="478"/>
          <ac:picMkLst>
            <pc:docMk/>
            <pc:sldMk cId="1006624807" sldId="2145707007"/>
            <ac:picMk id="4" creationId="{E20AD57F-01E7-5728-0D41-398D849B31D6}"/>
          </ac:picMkLst>
        </pc:picChg>
        <pc:picChg chg="del">
          <ac:chgData name="Ulrik Harnisch" userId="9e8d4388-1ad6-42ce-84d4-a406a1bf355f" providerId="ADAL" clId="{DCFA0F75-6FFC-4729-B44E-60F774108FB8}" dt="2024-11-14T14:23:26.157" v="1916" actId="478"/>
          <ac:picMkLst>
            <pc:docMk/>
            <pc:sldMk cId="1006624807" sldId="2145707007"/>
            <ac:picMk id="7" creationId="{A19777F6-0775-B1F2-1D6F-2E31CD7A2929}"/>
          </ac:picMkLst>
        </pc:picChg>
        <pc:picChg chg="add mod">
          <ac:chgData name="Ulrik Harnisch" userId="9e8d4388-1ad6-42ce-84d4-a406a1bf355f" providerId="ADAL" clId="{DCFA0F75-6FFC-4729-B44E-60F774108FB8}" dt="2024-11-14T14:27:09.858" v="1921" actId="1076"/>
          <ac:picMkLst>
            <pc:docMk/>
            <pc:sldMk cId="1006624807" sldId="2145707007"/>
            <ac:picMk id="9" creationId="{DFF3EF7E-AC24-BF3E-42D4-7D0A1E2E0C8F}"/>
          </ac:picMkLst>
        </pc:picChg>
      </pc:sldChg>
      <pc:sldChg chg="addSp modSp add mod modShow">
        <pc:chgData name="Ulrik Harnisch" userId="9e8d4388-1ad6-42ce-84d4-a406a1bf355f" providerId="ADAL" clId="{DCFA0F75-6FFC-4729-B44E-60F774108FB8}" dt="2024-11-14T14:38:02.606" v="2767" actId="729"/>
        <pc:sldMkLst>
          <pc:docMk/>
          <pc:sldMk cId="1762045368" sldId="2145707008"/>
        </pc:sldMkLst>
        <pc:spChg chg="add mod">
          <ac:chgData name="Ulrik Harnisch" userId="9e8d4388-1ad6-42ce-84d4-a406a1bf355f" providerId="ADAL" clId="{DCFA0F75-6FFC-4729-B44E-60F774108FB8}" dt="2024-11-14T14:27:54.048" v="1993" actId="20577"/>
          <ac:spMkLst>
            <pc:docMk/>
            <pc:sldMk cId="1762045368" sldId="2145707008"/>
            <ac:spMk id="3" creationId="{F369CC1F-60F6-320B-3BEB-15A7B05A56EC}"/>
          </ac:spMkLst>
        </pc:spChg>
      </pc:sldChg>
      <pc:sldChg chg="addSp delSp modSp add mod modShow">
        <pc:chgData name="Ulrik Harnisch" userId="9e8d4388-1ad6-42ce-84d4-a406a1bf355f" providerId="ADAL" clId="{DCFA0F75-6FFC-4729-B44E-60F774108FB8}" dt="2024-11-14T14:38:02.606" v="2767" actId="729"/>
        <pc:sldMkLst>
          <pc:docMk/>
          <pc:sldMk cId="4204183174" sldId="2145707009"/>
        </pc:sldMkLst>
        <pc:spChg chg="del">
          <ac:chgData name="Ulrik Harnisch" userId="9e8d4388-1ad6-42ce-84d4-a406a1bf355f" providerId="ADAL" clId="{DCFA0F75-6FFC-4729-B44E-60F774108FB8}" dt="2024-11-14T14:28:29.874" v="1995" actId="478"/>
          <ac:spMkLst>
            <pc:docMk/>
            <pc:sldMk cId="4204183174" sldId="2145707009"/>
            <ac:spMk id="3" creationId="{C0FDC349-6265-859D-9C11-FD7BA23F1375}"/>
          </ac:spMkLst>
        </pc:spChg>
        <pc:spChg chg="add mod">
          <ac:chgData name="Ulrik Harnisch" userId="9e8d4388-1ad6-42ce-84d4-a406a1bf355f" providerId="ADAL" clId="{DCFA0F75-6FFC-4729-B44E-60F774108FB8}" dt="2024-11-14T14:29:27.019" v="2128" actId="20577"/>
          <ac:spMkLst>
            <pc:docMk/>
            <pc:sldMk cId="4204183174" sldId="2145707009"/>
            <ac:spMk id="8" creationId="{C2251C25-F37E-26E2-1B31-4C980B051342}"/>
          </ac:spMkLst>
        </pc:spChg>
        <pc:picChg chg="del">
          <ac:chgData name="Ulrik Harnisch" userId="9e8d4388-1ad6-42ce-84d4-a406a1bf355f" providerId="ADAL" clId="{DCFA0F75-6FFC-4729-B44E-60F774108FB8}" dt="2024-11-14T14:28:29.874" v="1995" actId="478"/>
          <ac:picMkLst>
            <pc:docMk/>
            <pc:sldMk cId="4204183174" sldId="2145707009"/>
            <ac:picMk id="4" creationId="{B04B422D-233F-A987-49AD-8D80E932D3CE}"/>
          </ac:picMkLst>
        </pc:picChg>
        <pc:picChg chg="add mod">
          <ac:chgData name="Ulrik Harnisch" userId="9e8d4388-1ad6-42ce-84d4-a406a1bf355f" providerId="ADAL" clId="{DCFA0F75-6FFC-4729-B44E-60F774108FB8}" dt="2024-11-14T14:28:35.723" v="1997" actId="1076"/>
          <ac:picMkLst>
            <pc:docMk/>
            <pc:sldMk cId="4204183174" sldId="2145707009"/>
            <ac:picMk id="7" creationId="{B31D9B61-F2C0-F457-CBD1-3FA6A10A46A4}"/>
          </ac:picMkLst>
        </pc:picChg>
      </pc:sldChg>
      <pc:sldChg chg="addSp delSp modSp add mod modShow">
        <pc:chgData name="Ulrik Harnisch" userId="9e8d4388-1ad6-42ce-84d4-a406a1bf355f" providerId="ADAL" clId="{DCFA0F75-6FFC-4729-B44E-60F774108FB8}" dt="2024-11-14T14:38:02.606" v="2767" actId="729"/>
        <pc:sldMkLst>
          <pc:docMk/>
          <pc:sldMk cId="3133883013" sldId="2145707010"/>
        </pc:sldMkLst>
        <pc:spChg chg="mod">
          <ac:chgData name="Ulrik Harnisch" userId="9e8d4388-1ad6-42ce-84d4-a406a1bf355f" providerId="ADAL" clId="{DCFA0F75-6FFC-4729-B44E-60F774108FB8}" dt="2024-11-14T14:31:07.259" v="2309" actId="20577"/>
          <ac:spMkLst>
            <pc:docMk/>
            <pc:sldMk cId="3133883013" sldId="2145707010"/>
            <ac:spMk id="8" creationId="{F341524C-4D4F-2DA7-CD57-0924B251D44A}"/>
          </ac:spMkLst>
        </pc:spChg>
        <pc:picChg chg="add mod">
          <ac:chgData name="Ulrik Harnisch" userId="9e8d4388-1ad6-42ce-84d4-a406a1bf355f" providerId="ADAL" clId="{DCFA0F75-6FFC-4729-B44E-60F774108FB8}" dt="2024-11-14T14:29:53.386" v="2132" actId="1076"/>
          <ac:picMkLst>
            <pc:docMk/>
            <pc:sldMk cId="3133883013" sldId="2145707010"/>
            <ac:picMk id="4" creationId="{B5BEB832-6845-5E9A-B88A-574176EE9D5E}"/>
          </ac:picMkLst>
        </pc:picChg>
        <pc:picChg chg="del">
          <ac:chgData name="Ulrik Harnisch" userId="9e8d4388-1ad6-42ce-84d4-a406a1bf355f" providerId="ADAL" clId="{DCFA0F75-6FFC-4729-B44E-60F774108FB8}" dt="2024-11-14T14:29:47.537" v="2130" actId="478"/>
          <ac:picMkLst>
            <pc:docMk/>
            <pc:sldMk cId="3133883013" sldId="2145707010"/>
            <ac:picMk id="7" creationId="{CA3ECB2B-917E-6338-5023-B3F68AB1650C}"/>
          </ac:picMkLst>
        </pc:picChg>
      </pc:sldChg>
      <pc:sldChg chg="addSp delSp modSp add mod modShow">
        <pc:chgData name="Ulrik Harnisch" userId="9e8d4388-1ad6-42ce-84d4-a406a1bf355f" providerId="ADAL" clId="{DCFA0F75-6FFC-4729-B44E-60F774108FB8}" dt="2024-11-14T14:38:02.606" v="2767" actId="729"/>
        <pc:sldMkLst>
          <pc:docMk/>
          <pc:sldMk cId="4198884795" sldId="2145707011"/>
        </pc:sldMkLst>
        <pc:spChg chg="mod">
          <ac:chgData name="Ulrik Harnisch" userId="9e8d4388-1ad6-42ce-84d4-a406a1bf355f" providerId="ADAL" clId="{DCFA0F75-6FFC-4729-B44E-60F774108FB8}" dt="2024-11-14T14:32:55.799" v="2498" actId="20577"/>
          <ac:spMkLst>
            <pc:docMk/>
            <pc:sldMk cId="4198884795" sldId="2145707011"/>
            <ac:spMk id="8" creationId="{1424DB7B-F6CF-B5CF-EEE7-2F629C7523D9}"/>
          </ac:spMkLst>
        </pc:spChg>
        <pc:picChg chg="del">
          <ac:chgData name="Ulrik Harnisch" userId="9e8d4388-1ad6-42ce-84d4-a406a1bf355f" providerId="ADAL" clId="{DCFA0F75-6FFC-4729-B44E-60F774108FB8}" dt="2024-11-14T14:31:43.888" v="2311" actId="478"/>
          <ac:picMkLst>
            <pc:docMk/>
            <pc:sldMk cId="4198884795" sldId="2145707011"/>
            <ac:picMk id="4" creationId="{C1925025-6495-A874-97F4-AFF421E75FDA}"/>
          </ac:picMkLst>
        </pc:picChg>
        <pc:picChg chg="add mod">
          <ac:chgData name="Ulrik Harnisch" userId="9e8d4388-1ad6-42ce-84d4-a406a1bf355f" providerId="ADAL" clId="{DCFA0F75-6FFC-4729-B44E-60F774108FB8}" dt="2024-11-14T14:32:00.275" v="2316" actId="1076"/>
          <ac:picMkLst>
            <pc:docMk/>
            <pc:sldMk cId="4198884795" sldId="2145707011"/>
            <ac:picMk id="6" creationId="{22AA622B-93F2-A65A-6EBD-1CFEC62AFFF6}"/>
          </ac:picMkLst>
        </pc:picChg>
      </pc:sldChg>
      <pc:sldChg chg="addSp delSp modSp add mod modShow">
        <pc:chgData name="Ulrik Harnisch" userId="9e8d4388-1ad6-42ce-84d4-a406a1bf355f" providerId="ADAL" clId="{DCFA0F75-6FFC-4729-B44E-60F774108FB8}" dt="2024-11-14T14:38:02.606" v="2767" actId="729"/>
        <pc:sldMkLst>
          <pc:docMk/>
          <pc:sldMk cId="373186287" sldId="2145707012"/>
        </pc:sldMkLst>
        <pc:spChg chg="mod">
          <ac:chgData name="Ulrik Harnisch" userId="9e8d4388-1ad6-42ce-84d4-a406a1bf355f" providerId="ADAL" clId="{DCFA0F75-6FFC-4729-B44E-60F774108FB8}" dt="2024-11-14T14:37:40.779" v="2766" actId="20577"/>
          <ac:spMkLst>
            <pc:docMk/>
            <pc:sldMk cId="373186287" sldId="2145707012"/>
            <ac:spMk id="8" creationId="{D687C93C-ADE3-E1E0-41C1-167DFD8F1FA8}"/>
          </ac:spMkLst>
        </pc:spChg>
        <pc:picChg chg="add mod">
          <ac:chgData name="Ulrik Harnisch" userId="9e8d4388-1ad6-42ce-84d4-a406a1bf355f" providerId="ADAL" clId="{DCFA0F75-6FFC-4729-B44E-60F774108FB8}" dt="2024-11-14T14:35:13.339" v="2511" actId="14100"/>
          <ac:picMkLst>
            <pc:docMk/>
            <pc:sldMk cId="373186287" sldId="2145707012"/>
            <ac:picMk id="4" creationId="{FB18137F-49EB-CFEF-3B83-63D843E1CC51}"/>
          </ac:picMkLst>
        </pc:picChg>
        <pc:picChg chg="del">
          <ac:chgData name="Ulrik Harnisch" userId="9e8d4388-1ad6-42ce-84d4-a406a1bf355f" providerId="ADAL" clId="{DCFA0F75-6FFC-4729-B44E-60F774108FB8}" dt="2024-11-14T14:34:34.137" v="2500" actId="478"/>
          <ac:picMkLst>
            <pc:docMk/>
            <pc:sldMk cId="373186287" sldId="2145707012"/>
            <ac:picMk id="6" creationId="{C863E091-13F1-321B-B457-F80D403AFFC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11/1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Nr.›</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US" smtClean="0"/>
              <a:t>11/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US" smtClean="0"/>
              <a:t>‹Nr.›</a:t>
            </a:fld>
            <a:endParaRPr lang="en-US"/>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e Placeholder 6">
            <a:extLst>
              <a:ext uri="{FF2B5EF4-FFF2-40B4-BE49-F238E27FC236}">
                <a16:creationId xmlns:a16="http://schemas.microsoft.com/office/drawing/2014/main" id="{914C19FF-D79A-4835-84AD-282DC0F0DD80}"/>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8" name="Footer Placeholder 7">
            <a:extLst>
              <a:ext uri="{FF2B5EF4-FFF2-40B4-BE49-F238E27FC236}">
                <a16:creationId xmlns:a16="http://schemas.microsoft.com/office/drawing/2014/main" id="{2AA82929-8196-430E-A93D-A0AF5EEA786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9" name="Slide Number Placeholder 8">
            <a:extLst>
              <a:ext uri="{FF2B5EF4-FFF2-40B4-BE49-F238E27FC236}">
                <a16:creationId xmlns:a16="http://schemas.microsoft.com/office/drawing/2014/main" id="{9A6759B8-FC59-45F1-A00B-FAFCD8909C19}"/>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EA76FD7-E8E4-42B9-9F77-67EB30126534}" type="slidenum">
              <a:rPr lang="de-DE" smtClean="0"/>
              <a:pPr/>
              <a:t>‹Nr.›</a:t>
            </a:fld>
            <a:endParaRPr lang="de-DE"/>
          </a:p>
        </p:txBody>
      </p:sp>
    </p:spTree>
    <p:extLst>
      <p:ext uri="{BB962C8B-B14F-4D97-AF65-F5344CB8AC3E}">
        <p14:creationId xmlns:p14="http://schemas.microsoft.com/office/powerpoint/2010/main" val="2123520662"/>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4" name="Date Placeholder 3">
            <a:extLst>
              <a:ext uri="{FF2B5EF4-FFF2-40B4-BE49-F238E27FC236}">
                <a16:creationId xmlns:a16="http://schemas.microsoft.com/office/drawing/2014/main" id="{4811009C-4BB4-4C9A-B146-77466962B0BB}"/>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47E3D8BD-7B9F-424F-AEE7-CAF47C713B94}"/>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0F24E25-0854-4EFF-8813-D2B1F90C308E}"/>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804F0BC-8A48-41C9-86F0-6E37A70D8D9D}" type="slidenum">
              <a:rPr lang="de-DE" smtClean="0"/>
              <a:pPr/>
              <a:t>‹Nr.›</a:t>
            </a:fld>
            <a:endParaRPr lang="de-DE"/>
          </a:p>
        </p:txBody>
      </p:sp>
    </p:spTree>
    <p:extLst>
      <p:ext uri="{BB962C8B-B14F-4D97-AF65-F5344CB8AC3E}">
        <p14:creationId xmlns:p14="http://schemas.microsoft.com/office/powerpoint/2010/main" val="3162387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 name="Date Placeholder 1">
            <a:extLst>
              <a:ext uri="{FF2B5EF4-FFF2-40B4-BE49-F238E27FC236}">
                <a16:creationId xmlns:a16="http://schemas.microsoft.com/office/drawing/2014/main" id="{EE424191-37C2-4E03-9BA8-729A096D8008}"/>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A29E565D-D29D-4D80-9CFB-42C679832A94}"/>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E967AE24-C5DB-4F60-8BDA-5C5EFE715939}"/>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85D92B7-C9F0-4924-9B8F-55AD5AF8C10D}" type="slidenum">
              <a:rPr lang="de-DE" smtClean="0"/>
              <a:pPr/>
              <a:t>‹Nr.›</a:t>
            </a:fld>
            <a:endParaRPr lang="de-DE"/>
          </a:p>
        </p:txBody>
      </p:sp>
    </p:spTree>
    <p:extLst>
      <p:ext uri="{BB962C8B-B14F-4D97-AF65-F5344CB8AC3E}">
        <p14:creationId xmlns:p14="http://schemas.microsoft.com/office/powerpoint/2010/main" val="155611129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10565D62-2DAA-4DBB-9F26-D4539F12D2E9}"/>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81BB96BC-FE78-4242-937F-B2CB6BF4D3F1}"/>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7" name="Slide Number Placeholder 6">
            <a:extLst>
              <a:ext uri="{FF2B5EF4-FFF2-40B4-BE49-F238E27FC236}">
                <a16:creationId xmlns:a16="http://schemas.microsoft.com/office/drawing/2014/main" id="{C1CFB138-B23A-4CA1-B93C-EE9DFD7D3F3D}"/>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56EFA3A-0A2E-41C1-9D33-2C466E89D052}" type="slidenum">
              <a:rPr lang="de-DE" smtClean="0"/>
              <a:pPr/>
              <a:t>‹Nr.›</a:t>
            </a:fld>
            <a:endParaRPr lang="de-DE"/>
          </a:p>
        </p:txBody>
      </p:sp>
    </p:spTree>
    <p:extLst>
      <p:ext uri="{BB962C8B-B14F-4D97-AF65-F5344CB8AC3E}">
        <p14:creationId xmlns:p14="http://schemas.microsoft.com/office/powerpoint/2010/main" val="2323019015"/>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624378F4-CC48-433E-9D2D-F696A96BED9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1C371E1A-D20B-48FA-9385-DD81A4EA5B87}"/>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3F41B2F6-1DD4-4235-9804-632C44B43B32}"/>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711BF8A-96EE-44C1-9652-89D8DC3ABB08}" type="slidenum">
              <a:rPr lang="de-DE" smtClean="0"/>
              <a:pPr/>
              <a:t>‹Nr.›</a:t>
            </a:fld>
            <a:endParaRPr lang="de-DE"/>
          </a:p>
        </p:txBody>
      </p:sp>
    </p:spTree>
    <p:extLst>
      <p:ext uri="{BB962C8B-B14F-4D97-AF65-F5344CB8AC3E}">
        <p14:creationId xmlns:p14="http://schemas.microsoft.com/office/powerpoint/2010/main" val="55285606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212FC5B0-A64C-484D-9525-5D5DAAF20279}"/>
              </a:ext>
            </a:extLst>
          </p:cNvPr>
          <p:cNvSpPr>
            <a:spLocks noGrp="1"/>
          </p:cNvSpPr>
          <p:nvPr>
            <p:ph type="dt" sz="half" idx="1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B13E2452-774D-427E-B792-C0CF33E02CD4}"/>
              </a:ext>
            </a:extLst>
          </p:cNvPr>
          <p:cNvSpPr>
            <a:spLocks noGrp="1"/>
          </p:cNvSpPr>
          <p:nvPr>
            <p:ph type="ftr" sz="quarter" idx="1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2F3747D2-88DE-42D4-92B4-277C2EEBA2BE}"/>
              </a:ext>
            </a:extLst>
          </p:cNvPr>
          <p:cNvSpPr>
            <a:spLocks noGrp="1"/>
          </p:cNvSpPr>
          <p:nvPr>
            <p:ph type="sldNum" sz="quarter" idx="1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336A439E-74A5-4D8F-94CD-8EDCB2DAA26D}" type="slidenum">
              <a:rPr lang="de-DE" smtClean="0"/>
              <a:pPr/>
              <a:t>‹Nr.›</a:t>
            </a:fld>
            <a:endParaRPr lang="de-DE"/>
          </a:p>
        </p:txBody>
      </p:sp>
    </p:spTree>
    <p:extLst>
      <p:ext uri="{BB962C8B-B14F-4D97-AF65-F5344CB8AC3E}">
        <p14:creationId xmlns:p14="http://schemas.microsoft.com/office/powerpoint/2010/main" val="1139664725"/>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0D6E3885-9F46-4ABA-BFF3-F7D25B0D5DBA}"/>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36ED6EBF-2760-446F-A6CA-C0787A104898}"/>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76734E7F-6F4E-4B20-9FF1-B01421CD9E94}"/>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B3D9E5A-EEDD-498F-8CB4-1F04D8E69F71}" type="slidenum">
              <a:rPr lang="de-DE" smtClean="0"/>
              <a:pPr/>
              <a:t>‹Nr.›</a:t>
            </a:fld>
            <a:endParaRPr lang="de-DE"/>
          </a:p>
        </p:txBody>
      </p:sp>
    </p:spTree>
    <p:extLst>
      <p:ext uri="{BB962C8B-B14F-4D97-AF65-F5344CB8AC3E}">
        <p14:creationId xmlns:p14="http://schemas.microsoft.com/office/powerpoint/2010/main" val="254347932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2777045"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5111177"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7445309"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6"/>
          <p:cNvSpPr>
            <a:spLocks noGrp="1"/>
          </p:cNvSpPr>
          <p:nvPr>
            <p:ph sz="half" idx="15"/>
          </p:nvPr>
        </p:nvSpPr>
        <p:spPr>
          <a:xfrm>
            <a:off x="977944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A6224118-75CF-443F-8F83-47C014180947}"/>
              </a:ext>
            </a:extLst>
          </p:cNvPr>
          <p:cNvSpPr>
            <a:spLocks noGrp="1"/>
          </p:cNvSpPr>
          <p:nvPr>
            <p:ph type="dt" sz="half" idx="1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E5C3F0D0-6193-415F-B2DD-23C7E7645909}"/>
              </a:ext>
            </a:extLst>
          </p:cNvPr>
          <p:cNvSpPr>
            <a:spLocks noGrp="1"/>
          </p:cNvSpPr>
          <p:nvPr>
            <p:ph type="ftr" sz="quarter" idx="1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D8C9C3D1-6CE3-447F-A310-A98580FC1B6F}"/>
              </a:ext>
            </a:extLst>
          </p:cNvPr>
          <p:cNvSpPr>
            <a:spLocks noGrp="1"/>
          </p:cNvSpPr>
          <p:nvPr>
            <p:ph type="sldNum" sz="quarter" idx="1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7597121-E1D2-48F8-92D0-9CBA7044B604}" type="slidenum">
              <a:rPr lang="de-DE" smtClean="0"/>
              <a:pPr/>
              <a:t>‹Nr.›</a:t>
            </a:fld>
            <a:endParaRPr lang="de-DE"/>
          </a:p>
        </p:txBody>
      </p:sp>
    </p:spTree>
    <p:extLst>
      <p:ext uri="{BB962C8B-B14F-4D97-AF65-F5344CB8AC3E}">
        <p14:creationId xmlns:p14="http://schemas.microsoft.com/office/powerpoint/2010/main" val="1045707198"/>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2777045"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5111177"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7445309"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6"/>
          <p:cNvSpPr>
            <a:spLocks noGrp="1"/>
          </p:cNvSpPr>
          <p:nvPr>
            <p:ph sz="half" idx="15"/>
          </p:nvPr>
        </p:nvSpPr>
        <p:spPr>
          <a:xfrm>
            <a:off x="977944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C83CD576-AC52-4D93-A167-3D9DE1EF9E7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80351C92-33C8-4794-8946-84F2C42E2050}"/>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E50ECE27-4DC0-41DE-960D-7BBC8A95CDF7}"/>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3CF2E402-2C93-4077-964B-066DF277678E}" type="slidenum">
              <a:rPr lang="de-DE" smtClean="0"/>
              <a:pPr/>
              <a:t>‹Nr.›</a:t>
            </a:fld>
            <a:endParaRPr lang="de-DE"/>
          </a:p>
        </p:txBody>
      </p:sp>
    </p:spTree>
    <p:extLst>
      <p:ext uri="{BB962C8B-B14F-4D97-AF65-F5344CB8AC3E}">
        <p14:creationId xmlns:p14="http://schemas.microsoft.com/office/powerpoint/2010/main" val="3129817039"/>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 name="Date Placeholder 1">
            <a:extLst>
              <a:ext uri="{FF2B5EF4-FFF2-40B4-BE49-F238E27FC236}">
                <a16:creationId xmlns:a16="http://schemas.microsoft.com/office/drawing/2014/main" id="{A8A69A62-893C-4E76-BE72-2F745E8C7C86}"/>
              </a:ext>
            </a:extLst>
          </p:cNvPr>
          <p:cNvSpPr>
            <a:spLocks noGrp="1"/>
          </p:cNvSpPr>
          <p:nvPr>
            <p:ph type="dt" sz="half" idx="23"/>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7DF0C730-8D9A-40DB-ADF9-28CE83ACF2DF}"/>
              </a:ext>
            </a:extLst>
          </p:cNvPr>
          <p:cNvSpPr>
            <a:spLocks noGrp="1"/>
          </p:cNvSpPr>
          <p:nvPr>
            <p:ph type="ftr" sz="quarter" idx="24"/>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0A28C3F6-AED9-4A29-ACC0-0DAE8210601D}"/>
              </a:ext>
            </a:extLst>
          </p:cNvPr>
          <p:cNvSpPr>
            <a:spLocks noGrp="1"/>
          </p:cNvSpPr>
          <p:nvPr>
            <p:ph type="sldNum" sz="quarter" idx="25"/>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A27EF90-4786-43DA-B408-78B11A7AFE9B}" type="slidenum">
              <a:rPr lang="de-DE" smtClean="0"/>
              <a:pPr/>
              <a:t>‹Nr.›</a:t>
            </a:fld>
            <a:endParaRPr lang="de-DE"/>
          </a:p>
        </p:txBody>
      </p:sp>
    </p:spTree>
    <p:extLst>
      <p:ext uri="{BB962C8B-B14F-4D97-AF65-F5344CB8AC3E}">
        <p14:creationId xmlns:p14="http://schemas.microsoft.com/office/powerpoint/2010/main" val="233532703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 name="Date Placeholder 1">
            <a:extLst>
              <a:ext uri="{FF2B5EF4-FFF2-40B4-BE49-F238E27FC236}">
                <a16:creationId xmlns:a16="http://schemas.microsoft.com/office/drawing/2014/main" id="{1026B6F5-E4DE-4CAE-A963-D96BED2A6978}"/>
              </a:ext>
            </a:extLst>
          </p:cNvPr>
          <p:cNvSpPr>
            <a:spLocks noGrp="1"/>
          </p:cNvSpPr>
          <p:nvPr>
            <p:ph type="dt" sz="half" idx="2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7AF088DF-FC5A-4677-96D8-F34DBA848AFF}"/>
              </a:ext>
            </a:extLst>
          </p:cNvPr>
          <p:cNvSpPr>
            <a:spLocks noGrp="1"/>
          </p:cNvSpPr>
          <p:nvPr>
            <p:ph type="ftr" sz="quarter" idx="2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1664B647-AAA9-4B23-9BA4-4C0774F6CDC3}"/>
              </a:ext>
            </a:extLst>
          </p:cNvPr>
          <p:cNvSpPr>
            <a:spLocks noGrp="1"/>
          </p:cNvSpPr>
          <p:nvPr>
            <p:ph type="sldNum" sz="quarter" idx="2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991C9B97-4902-4AB8-8454-FB68B2F04C39}" type="slidenum">
              <a:rPr lang="de-DE" smtClean="0"/>
              <a:pPr/>
              <a:t>‹Nr.›</a:t>
            </a:fld>
            <a:endParaRPr lang="de-DE"/>
          </a:p>
        </p:txBody>
      </p:sp>
    </p:spTree>
    <p:extLst>
      <p:ext uri="{BB962C8B-B14F-4D97-AF65-F5344CB8AC3E}">
        <p14:creationId xmlns:p14="http://schemas.microsoft.com/office/powerpoint/2010/main" val="112746607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3" y="2103120"/>
            <a:ext cx="11306175" cy="40738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8803B3F1-0DA5-4D8A-AE66-0E668B605517}"/>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920B33C4-463C-4D6B-BEA7-B137B67C7173}"/>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DAD4A681-3867-47F8-AC68-7F555968909D}"/>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D6192297-583D-4090-A81E-C6AD7E794A5F}" type="slidenum">
              <a:rPr lang="de-DE" smtClean="0"/>
              <a:pPr/>
              <a:t>‹Nr.›</a:t>
            </a:fld>
            <a:endParaRPr lang="de-DE"/>
          </a:p>
        </p:txBody>
      </p:sp>
    </p:spTree>
    <p:extLst>
      <p:ext uri="{BB962C8B-B14F-4D97-AF65-F5344CB8AC3E}">
        <p14:creationId xmlns:p14="http://schemas.microsoft.com/office/powerpoint/2010/main" val="3258172084"/>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96791679-ABBB-4397-9244-13E3929CC442}"/>
              </a:ext>
            </a:extLst>
          </p:cNvPr>
          <p:cNvSpPr>
            <a:spLocks noGrp="1"/>
          </p:cNvSpPr>
          <p:nvPr>
            <p:ph type="dt" sz="half" idx="2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06370B10-CB91-4EC3-9769-AB016FBC259A}"/>
              </a:ext>
            </a:extLst>
          </p:cNvPr>
          <p:cNvSpPr>
            <a:spLocks noGrp="1"/>
          </p:cNvSpPr>
          <p:nvPr>
            <p:ph type="ftr" sz="quarter" idx="2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3C7AC0F4-E452-4CA3-B09F-7735D979890E}"/>
              </a:ext>
            </a:extLst>
          </p:cNvPr>
          <p:cNvSpPr>
            <a:spLocks noGrp="1"/>
          </p:cNvSpPr>
          <p:nvPr>
            <p:ph type="sldNum" sz="quarter" idx="2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A7ABCD7-C2E6-4DA4-A394-3A31DA737C59}" type="slidenum">
              <a:rPr lang="de-DE" smtClean="0"/>
              <a:pPr/>
              <a:t>‹Nr.›</a:t>
            </a:fld>
            <a:endParaRPr lang="de-DE"/>
          </a:p>
        </p:txBody>
      </p:sp>
    </p:spTree>
    <p:extLst>
      <p:ext uri="{BB962C8B-B14F-4D97-AF65-F5344CB8AC3E}">
        <p14:creationId xmlns:p14="http://schemas.microsoft.com/office/powerpoint/2010/main" val="159377084"/>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9F0A03C2-B4A2-4B97-9AF7-CE2B27E800BC}"/>
              </a:ext>
            </a:extLst>
          </p:cNvPr>
          <p:cNvSpPr>
            <a:spLocks noGrp="1"/>
          </p:cNvSpPr>
          <p:nvPr>
            <p:ph type="dt" sz="half" idx="2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CB899E57-0167-486A-B2A1-4C9C0F7B5289}"/>
              </a:ext>
            </a:extLst>
          </p:cNvPr>
          <p:cNvSpPr>
            <a:spLocks noGrp="1"/>
          </p:cNvSpPr>
          <p:nvPr>
            <p:ph type="ftr" sz="quarter" idx="2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7B522DD5-1189-49E5-B4FF-D0980FC95C8C}"/>
              </a:ext>
            </a:extLst>
          </p:cNvPr>
          <p:cNvSpPr>
            <a:spLocks noGrp="1"/>
          </p:cNvSpPr>
          <p:nvPr>
            <p:ph type="sldNum" sz="quarter" idx="2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CDDE2DC-5DD9-4096-BB2A-4C1C3E4B489C}" type="slidenum">
              <a:rPr lang="de-DE" smtClean="0"/>
              <a:pPr/>
              <a:t>‹Nr.›</a:t>
            </a:fld>
            <a:endParaRPr lang="de-DE"/>
          </a:p>
        </p:txBody>
      </p:sp>
    </p:spTree>
    <p:extLst>
      <p:ext uri="{BB962C8B-B14F-4D97-AF65-F5344CB8AC3E}">
        <p14:creationId xmlns:p14="http://schemas.microsoft.com/office/powerpoint/2010/main" val="726970495"/>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1A02805A-E0D1-49BA-8C7A-4340A1A1AA17}"/>
              </a:ext>
            </a:extLst>
          </p:cNvPr>
          <p:cNvSpPr>
            <a:spLocks noGrp="1"/>
          </p:cNvSpPr>
          <p:nvPr>
            <p:ph type="dt" sz="half" idx="2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6EFE1FA0-E3BB-43E3-9EDE-AD542BBB3379}"/>
              </a:ext>
            </a:extLst>
          </p:cNvPr>
          <p:cNvSpPr>
            <a:spLocks noGrp="1"/>
          </p:cNvSpPr>
          <p:nvPr>
            <p:ph type="ftr" sz="quarter" idx="2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F61376EE-3832-4731-8789-1F69C59B6D28}"/>
              </a:ext>
            </a:extLst>
          </p:cNvPr>
          <p:cNvSpPr>
            <a:spLocks noGrp="1"/>
          </p:cNvSpPr>
          <p:nvPr>
            <p:ph type="sldNum" sz="quarter" idx="2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68E1C73B-E41C-48CF-A968-1419FE42EC24}" type="slidenum">
              <a:rPr lang="de-DE" smtClean="0"/>
              <a:pPr/>
              <a:t>‹Nr.›</a:t>
            </a:fld>
            <a:endParaRPr lang="de-DE"/>
          </a:p>
        </p:txBody>
      </p:sp>
    </p:spTree>
    <p:extLst>
      <p:ext uri="{BB962C8B-B14F-4D97-AF65-F5344CB8AC3E}">
        <p14:creationId xmlns:p14="http://schemas.microsoft.com/office/powerpoint/2010/main" val="3532200888"/>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D4961D68-D221-43CE-9E62-34C435A19C70}"/>
              </a:ext>
            </a:extLst>
          </p:cNvPr>
          <p:cNvSpPr>
            <a:spLocks noGrp="1"/>
          </p:cNvSpPr>
          <p:nvPr>
            <p:ph type="dt" sz="half" idx="2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9F1547F3-6EDA-4A90-8BD8-3A91308B54E5}"/>
              </a:ext>
            </a:extLst>
          </p:cNvPr>
          <p:cNvSpPr>
            <a:spLocks noGrp="1"/>
          </p:cNvSpPr>
          <p:nvPr>
            <p:ph type="ftr" sz="quarter" idx="2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2DA238DF-BED5-4FFC-9700-A7396C02C07A}"/>
              </a:ext>
            </a:extLst>
          </p:cNvPr>
          <p:cNvSpPr>
            <a:spLocks noGrp="1"/>
          </p:cNvSpPr>
          <p:nvPr>
            <p:ph type="sldNum" sz="quarter" idx="2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4D0A7296-5797-47FA-8372-C98781C0E245}" type="slidenum">
              <a:rPr lang="de-DE" smtClean="0"/>
              <a:pPr/>
              <a:t>‹Nr.›</a:t>
            </a:fld>
            <a:endParaRPr lang="de-DE"/>
          </a:p>
        </p:txBody>
      </p:sp>
    </p:spTree>
    <p:extLst>
      <p:ext uri="{BB962C8B-B14F-4D97-AF65-F5344CB8AC3E}">
        <p14:creationId xmlns:p14="http://schemas.microsoft.com/office/powerpoint/2010/main" val="1512142920"/>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AB6C992C-583C-4A6B-B052-9C80BB3DED59}"/>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C9EE156-6C70-4988-935E-50983AAF1FFD}"/>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9203D2C5-4839-4221-B4CE-FB4A09DF4F70}"/>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4098BCE0-6D68-43DB-A589-A777F2CF056E}" type="slidenum">
              <a:rPr lang="de-DE" smtClean="0"/>
              <a:pPr/>
              <a:t>‹Nr.›</a:t>
            </a:fld>
            <a:endParaRPr lang="de-DE"/>
          </a:p>
        </p:txBody>
      </p:sp>
    </p:spTree>
    <p:extLst>
      <p:ext uri="{BB962C8B-B14F-4D97-AF65-F5344CB8AC3E}">
        <p14:creationId xmlns:p14="http://schemas.microsoft.com/office/powerpoint/2010/main" val="1034817547"/>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2BD97AEE-F5F4-4D3F-924B-EC03275560C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C1A85A22-51B1-4A95-A224-5E17955F5270}"/>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D7A75ED9-4987-4589-8770-C78363E0567D}"/>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43E210C-FB5C-450A-ACB8-7F2FB1C8E79B}" type="slidenum">
              <a:rPr lang="de-DE" smtClean="0"/>
              <a:pPr/>
              <a:t>‹Nr.›</a:t>
            </a:fld>
            <a:endParaRPr lang="de-DE"/>
          </a:p>
        </p:txBody>
      </p:sp>
    </p:spTree>
    <p:extLst>
      <p:ext uri="{BB962C8B-B14F-4D97-AF65-F5344CB8AC3E}">
        <p14:creationId xmlns:p14="http://schemas.microsoft.com/office/powerpoint/2010/main" val="91137497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01333798-73E9-4BAA-A0B6-B4AC91B1616B}"/>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018C51B-2EB0-413C-BCBC-E8FA1236F811}"/>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0A4D227-F74A-477E-AA46-EAF1DDA67910}"/>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DB4C2A0-B43E-4084-B5AB-6EF0A7CC6738}" type="slidenum">
              <a:rPr lang="de-DE" smtClean="0"/>
              <a:pPr/>
              <a:t>‹Nr.›</a:t>
            </a:fld>
            <a:endParaRPr lang="de-DE"/>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10"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3C06988D-F6E7-4CBC-92CB-2DC1DF799160}"/>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CCBCAA28-CC12-448D-B29E-EA3AC0517098}"/>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3B7B2FF8-5A77-45D5-A84D-55EAC01A2BA2}"/>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80A4074E-5A01-4CAE-BDCB-AB9EFEF43D18}" type="slidenum">
              <a:rPr lang="de-DE" smtClean="0"/>
              <a:pPr/>
              <a:t>‹Nr.›</a:t>
            </a:fld>
            <a:endParaRPr lang="de-DE"/>
          </a:p>
        </p:txBody>
      </p:sp>
    </p:spTree>
    <p:extLst>
      <p:ext uri="{BB962C8B-B14F-4D97-AF65-F5344CB8AC3E}">
        <p14:creationId xmlns:p14="http://schemas.microsoft.com/office/powerpoint/2010/main" val="559459568"/>
      </p:ext>
    </p:extLst>
  </p:cSld>
  <p:clrMapOvr>
    <a:overrideClrMapping bg1="dk1" tx1="lt1" bg2="dk2" tx2="lt2" accent1="accent1" accent2="accent2" accent3="accent3" accent4="accent4" accent5="accent5" accent6="accent6" hlink="hlink" folHlink="folHlink"/>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1387274"/>
          </a:xfrm>
          <a:prstGeom prst="rect">
            <a:avLst/>
          </a:prstGeom>
        </p:spPr>
        <p:txBody>
          <a:bodyPr/>
          <a:lstStyle>
            <a:lvl1pPr>
              <a:defRPr/>
            </a:lvl1pPr>
          </a:lstStyle>
          <a:p>
            <a:r>
              <a:rPr lang="en-US"/>
              <a:t>[Slide title]</a:t>
            </a:r>
          </a:p>
        </p:txBody>
      </p:sp>
      <p:sp>
        <p:nvSpPr>
          <p:cNvPr id="3" name="Date Placeholder 2">
            <a:extLst>
              <a:ext uri="{FF2B5EF4-FFF2-40B4-BE49-F238E27FC236}">
                <a16:creationId xmlns:a16="http://schemas.microsoft.com/office/drawing/2014/main" id="{6399A838-8811-454B-B46A-8757B7AB8D80}"/>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F8EDBC90-601D-4AC6-92BD-4932508015E1}"/>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3A4719F0-0757-455E-A57B-99BA01EF7A26}"/>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9F237FB-60EA-44A0-B7B6-1FAF7006BF20}" type="slidenum">
              <a:rPr lang="de-DE" smtClean="0"/>
              <a:pPr/>
              <a:t>‹Nr.›</a:t>
            </a:fld>
            <a:endParaRPr lang="de-DE"/>
          </a:p>
        </p:txBody>
      </p:sp>
    </p:spTree>
    <p:extLst>
      <p:ext uri="{BB962C8B-B14F-4D97-AF65-F5344CB8AC3E}">
        <p14:creationId xmlns:p14="http://schemas.microsoft.com/office/powerpoint/2010/main" val="1531588365"/>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50400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Date Placeholder 2">
            <a:extLst>
              <a:ext uri="{FF2B5EF4-FFF2-40B4-BE49-F238E27FC236}">
                <a16:creationId xmlns:a16="http://schemas.microsoft.com/office/drawing/2014/main" id="{D8D65BB2-0978-4941-B63D-1DCD8C1EDDEA}"/>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9AB29CE4-856A-4633-BA19-DFEA78CBE4EE}"/>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CDAB7009-21F5-4C71-A0B2-2DEC13A4588F}"/>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F45314C-E0B8-41C7-AED9-C159709C318F}" type="slidenum">
              <a:rPr lang="de-DE" smtClean="0"/>
              <a:pPr/>
              <a:t>‹Nr.›</a:t>
            </a:fld>
            <a:endParaRPr lang="de-DE"/>
          </a:p>
        </p:txBody>
      </p:sp>
    </p:spTree>
    <p:extLst>
      <p:ext uri="{BB962C8B-B14F-4D97-AF65-F5344CB8AC3E}">
        <p14:creationId xmlns:p14="http://schemas.microsoft.com/office/powerpoint/2010/main" val="1430700812"/>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4B3628FF-C7E2-488D-8843-B403DF357D94}"/>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0C73743-6DC1-4F5E-9AB6-76065BE667E7}"/>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A2355864-546C-40A0-9556-4AF939D7A6A9}"/>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9FC9818E-1969-4AC2-B289-26EF8CE6E2B7}" type="slidenum">
              <a:rPr lang="de-DE" smtClean="0"/>
              <a:pPr/>
              <a:t>‹Nr.›</a:t>
            </a:fld>
            <a:endParaRPr lang="de-DE"/>
          </a:p>
        </p:txBody>
      </p:sp>
    </p:spTree>
    <p:extLst>
      <p:ext uri="{BB962C8B-B14F-4D97-AF65-F5344CB8AC3E}">
        <p14:creationId xmlns:p14="http://schemas.microsoft.com/office/powerpoint/2010/main" val="4663278"/>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F616E5-543B-4674-B9B9-4E56E79711D5}"/>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B1E41126-6925-4955-8599-CF36BF603FE5}"/>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A9DECF2B-8925-4E9B-8EF0-75851671BF57}"/>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513EF74-4B0C-4BC5-B7BA-5F9E311FAACC}" type="slidenum">
              <a:rPr lang="de-DE" smtClean="0"/>
              <a:pPr/>
              <a:t>‹Nr.›</a:t>
            </a:fld>
            <a:endParaRPr lang="de-DE"/>
          </a:p>
        </p:txBody>
      </p:sp>
    </p:spTree>
    <p:extLst>
      <p:ext uri="{BB962C8B-B14F-4D97-AF65-F5344CB8AC3E}">
        <p14:creationId xmlns:p14="http://schemas.microsoft.com/office/powerpoint/2010/main" val="3079579716"/>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4202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1"/>
            <a:ext cx="11306175" cy="1387274"/>
          </a:xfrm>
          <a:prstGeom prst="rect">
            <a:avLst/>
          </a:prstGeom>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AF25FE34-D976-4743-9FA1-7BEF0DB4D94D}"/>
              </a:ext>
            </a:extLst>
          </p:cNvPr>
          <p:cNvSpPr>
            <a:spLocks noGrp="1"/>
          </p:cNvSpPr>
          <p:nvPr>
            <p:ph type="dt" sz="half" idx="21"/>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20A6F4A-9B64-4164-BDAA-A867A7D4DF57}"/>
              </a:ext>
            </a:extLst>
          </p:cNvPr>
          <p:cNvSpPr>
            <a:spLocks noGrp="1"/>
          </p:cNvSpPr>
          <p:nvPr>
            <p:ph type="ftr" sz="quarter" idx="22"/>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FB2BDC00-D4D4-4263-AD4B-B82235BD720C}"/>
              </a:ext>
            </a:extLst>
          </p:cNvPr>
          <p:cNvSpPr>
            <a:spLocks noGrp="1"/>
          </p:cNvSpPr>
          <p:nvPr>
            <p:ph type="sldNum" sz="quarter" idx="23"/>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A3CE7878-B3B7-4301-BE9C-7E783E55ACB1}" type="slidenum">
              <a:rPr lang="de-DE" smtClean="0"/>
              <a:pPr/>
              <a:t>‹Nr.›</a:t>
            </a:fld>
            <a:endParaRPr lang="de-DE"/>
          </a:p>
        </p:txBody>
      </p:sp>
    </p:spTree>
    <p:extLst>
      <p:ext uri="{BB962C8B-B14F-4D97-AF65-F5344CB8AC3E}">
        <p14:creationId xmlns:p14="http://schemas.microsoft.com/office/powerpoint/2010/main" val="62663518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Infographic - Sub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1"/>
            <a:ext cx="11306175" cy="504000"/>
          </a:xfrm>
          <a:prstGeom prst="rect">
            <a:avLst/>
          </a:prstGeom>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Subtitle 2">
            <a:extLst>
              <a:ext uri="{FF2B5EF4-FFF2-40B4-BE49-F238E27FC236}">
                <a16:creationId xmlns:a16="http://schemas.microsoft.com/office/drawing/2014/main" id="{06D22B17-E9E9-3842-A116-5C0D59C56C8F}"/>
              </a:ext>
            </a:extLst>
          </p:cNvPr>
          <p:cNvSpPr>
            <a:spLocks noGrp="1"/>
          </p:cNvSpPr>
          <p:nvPr>
            <p:ph type="subTitle" idx="21"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A4C87162-D873-44F5-9F73-70AE0B3EFD81}"/>
              </a:ext>
            </a:extLst>
          </p:cNvPr>
          <p:cNvSpPr>
            <a:spLocks noGrp="1"/>
          </p:cNvSpPr>
          <p:nvPr>
            <p:ph type="dt" sz="half" idx="22"/>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BFF63FD8-AE57-4EAA-9FDB-B32C813F9ED1}"/>
              </a:ext>
            </a:extLst>
          </p:cNvPr>
          <p:cNvSpPr>
            <a:spLocks noGrp="1"/>
          </p:cNvSpPr>
          <p:nvPr>
            <p:ph type="ftr" sz="quarter" idx="23"/>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C6899953-3C76-48EF-86F5-66105EA3B025}"/>
              </a:ext>
            </a:extLst>
          </p:cNvPr>
          <p:cNvSpPr>
            <a:spLocks noGrp="1"/>
          </p:cNvSpPr>
          <p:nvPr>
            <p:ph type="sldNum" sz="quarter" idx="24"/>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A884D16-225C-495E-93B9-2689111BFCCC}" type="slidenum">
              <a:rPr lang="de-DE" smtClean="0"/>
              <a:pPr/>
              <a:t>‹Nr.›</a:t>
            </a:fld>
            <a:endParaRPr lang="de-DE"/>
          </a:p>
        </p:txBody>
      </p:sp>
    </p:spTree>
    <p:extLst>
      <p:ext uri="{BB962C8B-B14F-4D97-AF65-F5344CB8AC3E}">
        <p14:creationId xmlns:p14="http://schemas.microsoft.com/office/powerpoint/2010/main" val="1511198003"/>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18181CF7-2438-4A4A-87EA-B6CF166BB180}"/>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98C7BB3E-EFC7-4EB2-A18F-BB810950A656}"/>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D3759B59-39BF-4A5A-8040-EBF5843F605E}"/>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70D7211-9902-4101-B2AE-24610D5AF06B}" type="slidenum">
              <a:rPr lang="de-DE" smtClean="0"/>
              <a:pPr/>
              <a:t>‹Nr.›</a:t>
            </a:fld>
            <a:endParaRPr lang="de-DE"/>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hart Dark - Subtitle">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50396AF-AAAD-46EE-9681-F8009B73949D}"/>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197CD384-06BF-4685-8EF2-BE0587BBF369}"/>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69751A34-CA3B-4A4D-9B02-4CBDAA297AAE}"/>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AD0BFEE1-977F-4E96-AF8C-34C6B3C45AC8}" type="slidenum">
              <a:rPr lang="de-DE" smtClean="0"/>
              <a:pPr/>
              <a:t>‹Nr.›</a:t>
            </a:fld>
            <a:endParaRPr lang="de-DE"/>
          </a:p>
        </p:txBody>
      </p:sp>
    </p:spTree>
    <p:extLst>
      <p:ext uri="{BB962C8B-B14F-4D97-AF65-F5344CB8AC3E}">
        <p14:creationId xmlns:p14="http://schemas.microsoft.com/office/powerpoint/2010/main" val="1299923068"/>
      </p:ext>
    </p:extLst>
  </p:cSld>
  <p:clrMapOvr>
    <a:overrideClrMapping bg1="dk1" tx1="lt1" bg2="dk2" tx2="lt2" accent1="accent1" accent2="accent2" accent3="accent3" accent4="accent4" accent5="accent5" accent6="accent6" hlink="hlink" folHlink="folHlink"/>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5DF4BD64-6C7C-445E-B81F-1DF80732B175}"/>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60AA895-475C-46E6-B450-E37E8766592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585E2B97-5144-41A7-9046-4295FEE8DD92}"/>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DAEAA17-1B16-4052-A14C-6E0100AF66AB}" type="slidenum">
              <a:rPr lang="de-DE" smtClean="0"/>
              <a:pPr/>
              <a:t>‹Nr.›</a:t>
            </a:fld>
            <a:endParaRPr lang="de-DE"/>
          </a:p>
        </p:txBody>
      </p:sp>
    </p:spTree>
    <p:extLst>
      <p:ext uri="{BB962C8B-B14F-4D97-AF65-F5344CB8AC3E}">
        <p14:creationId xmlns:p14="http://schemas.microsoft.com/office/powerpoint/2010/main" val="31647214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23303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B8ACA1C7-EB11-4C7A-9214-768660DA18AC}"/>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3C2F22F-A53A-427D-81E4-F4EAFE9D89CE}"/>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D770782B-3CAD-470C-A2A1-A476A2D7661D}"/>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7DD05B6B-0B0C-4FD6-9808-5D4D1086ABF2}" type="slidenum">
              <a:rPr lang="de-DE" smtClean="0"/>
              <a:pPr/>
              <a:t>‹Nr.›</a:t>
            </a:fld>
            <a:endParaRPr lang="de-DE"/>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Conten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424B94F7-E8EC-4E79-8BF6-536DEBC7E87E}"/>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5891E244-711F-4D24-BADC-EFB24E577481}"/>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ACB5964-ECD6-4332-B1FC-9CF5CDD0CEDA}"/>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50C4CE82-9754-47D9-81BF-720188F11B8E}" type="slidenum">
              <a:rPr lang="de-DE" smtClean="0"/>
              <a:pPr/>
              <a:t>‹Nr.›</a:t>
            </a:fld>
            <a:endParaRPr lang="de-DE"/>
          </a:p>
        </p:txBody>
      </p:sp>
    </p:spTree>
    <p:extLst>
      <p:ext uri="{BB962C8B-B14F-4D97-AF65-F5344CB8AC3E}">
        <p14:creationId xmlns:p14="http://schemas.microsoft.com/office/powerpoint/2010/main" val="4126822566"/>
      </p:ext>
    </p:extLst>
  </p:cSld>
  <p:clrMapOvr>
    <a:overrideClrMapping bg1="dk1" tx1="lt1" bg2="dk2" tx2="lt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473700" cy="40687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34CD1F12-07F1-44A1-829B-4362227D3DC6}"/>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5AAF2991-AEF7-452D-B477-F14D6A9F873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7" name="Slide Number Placeholder 6">
            <a:extLst>
              <a:ext uri="{FF2B5EF4-FFF2-40B4-BE49-F238E27FC236}">
                <a16:creationId xmlns:a16="http://schemas.microsoft.com/office/drawing/2014/main" id="{7DC4CEFA-8516-4979-9C14-7C41A6A4E5A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BE855F25-2F8C-4D1F-BA4E-46E4D0B16387}" type="slidenum">
              <a:rPr lang="de-DE" smtClean="0"/>
              <a:pPr/>
              <a:t>‹Nr.›</a:t>
            </a:fld>
            <a:endParaRPr lang="de-DE"/>
          </a:p>
        </p:txBody>
      </p:sp>
    </p:spTree>
    <p:extLst>
      <p:ext uri="{BB962C8B-B14F-4D97-AF65-F5344CB8AC3E}">
        <p14:creationId xmlns:p14="http://schemas.microsoft.com/office/powerpoint/2010/main" val="2165727502"/>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3FC0197C-41D6-45F2-AED4-5A347E216189}"/>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3742DB31-5204-4D63-8545-F779E5E70914}"/>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89E7E21D-8849-407F-AB68-BB6518079D76}"/>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6E49BD33-C6F8-4FB6-B3F6-38B6D4842260}" type="slidenum">
              <a:rPr lang="de-DE" smtClean="0"/>
              <a:pPr/>
              <a:t>‹Nr.›</a:t>
            </a:fld>
            <a:endParaRPr lang="de-DE"/>
          </a:p>
        </p:txBody>
      </p:sp>
    </p:spTree>
    <p:extLst>
      <p:ext uri="{BB962C8B-B14F-4D97-AF65-F5344CB8AC3E}">
        <p14:creationId xmlns:p14="http://schemas.microsoft.com/office/powerpoint/2010/main" val="3641426661"/>
      </p:ext>
    </p:extLst>
  </p:cSld>
  <p:clrMapOvr>
    <a:masterClrMapping/>
  </p:clrMapOvr>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E255F7-7D24-4DAF-80B6-27A865A0D388}"/>
              </a:ext>
            </a:extLst>
          </p:cNvPr>
          <p:cNvGraphicFramePr>
            <a:graphicFrameLocks noChangeAspect="1"/>
          </p:cNvGraphicFramePr>
          <p:nvPr userDrawn="1">
            <p:custDataLst>
              <p:tags r:id="rId37"/>
            </p:custDataLst>
            <p:extLst>
              <p:ext uri="{D42A27DB-BD31-4B8C-83A1-F6EECF244321}">
                <p14:modId xmlns:p14="http://schemas.microsoft.com/office/powerpoint/2010/main" val="186713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5" progId="TCLayout.ActiveDocument.1">
                  <p:embed/>
                </p:oleObj>
              </mc:Choice>
              <mc:Fallback>
                <p:oleObj name="think-cell Slide" r:id="rId38" imgW="404" imgH="405" progId="TCLayout.ActiveDocument.1">
                  <p:embed/>
                  <p:pic>
                    <p:nvPicPr>
                      <p:cNvPr id="9" name="Object 8" hidden="1">
                        <a:extLst>
                          <a:ext uri="{FF2B5EF4-FFF2-40B4-BE49-F238E27FC236}">
                            <a16:creationId xmlns:a16="http://schemas.microsoft.com/office/drawing/2014/main" id="{A5E255F7-7D24-4DAF-80B6-27A865A0D388}"/>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40" r:id="rId1"/>
    <p:sldLayoutId id="2147483742" r:id="rId2"/>
    <p:sldLayoutId id="2147483754" r:id="rId3"/>
    <p:sldLayoutId id="2147483743" r:id="rId4"/>
    <p:sldLayoutId id="2147483755" r:id="rId5"/>
    <p:sldLayoutId id="2147483767" r:id="rId6"/>
    <p:sldLayoutId id="2147483807" r:id="rId7"/>
    <p:sldLayoutId id="2147483744" r:id="rId8"/>
    <p:sldLayoutId id="2147483756" r:id="rId9"/>
    <p:sldLayoutId id="2147483745" r:id="rId10"/>
    <p:sldLayoutId id="2147483757" r:id="rId11"/>
    <p:sldLayoutId id="2147483746" r:id="rId12"/>
    <p:sldLayoutId id="2147483758" r:id="rId13"/>
    <p:sldLayoutId id="2147483747" r:id="rId14"/>
    <p:sldLayoutId id="2147483759" r:id="rId15"/>
    <p:sldLayoutId id="2147483748" r:id="rId16"/>
    <p:sldLayoutId id="2147483760" r:id="rId17"/>
    <p:sldLayoutId id="2147483749" r:id="rId18"/>
    <p:sldLayoutId id="2147483761" r:id="rId19"/>
    <p:sldLayoutId id="2147483750" r:id="rId20"/>
    <p:sldLayoutId id="2147483762" r:id="rId21"/>
    <p:sldLayoutId id="2147483751" r:id="rId22"/>
    <p:sldLayoutId id="2147483763" r:id="rId23"/>
    <p:sldLayoutId id="2147483752" r:id="rId24"/>
    <p:sldLayoutId id="2147483764" r:id="rId25"/>
    <p:sldLayoutId id="2147483768" r:id="rId26"/>
    <p:sldLayoutId id="2147483808" r:id="rId27"/>
    <p:sldLayoutId id="2147483786" r:id="rId28"/>
    <p:sldLayoutId id="2147483809" r:id="rId29"/>
    <p:sldLayoutId id="2147483787" r:id="rId30"/>
    <p:sldLayoutId id="2147483790" r:id="rId31"/>
    <p:sldLayoutId id="2147483766" r:id="rId32"/>
    <p:sldLayoutId id="2147483811" r:id="rId33"/>
    <p:sldLayoutId id="2147483769" r:id="rId34"/>
    <p:sldLayoutId id="2147483812" r:id="rId35"/>
  </p:sldLayoutIdLst>
  <p:hf hdr="0"/>
  <p:txStyles>
    <p:titleStyle>
      <a:lvl1pPr algn="l" defTabSz="914400" rtl="0" eaLnBrk="1" latinLnBrk="0" hangingPunct="1">
        <a:lnSpc>
          <a:spcPct val="85000"/>
        </a:lnSpc>
        <a:spcBef>
          <a:spcPct val="0"/>
        </a:spcBef>
        <a:buNone/>
        <a:defRPr sz="3200" kern="1200">
          <a:solidFill>
            <a:schemeClr val="tx1"/>
          </a:solidFill>
          <a:latin typeface="Montserrat" panose="00000500000000000000" pitchFamily="2" charset="0"/>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21.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22.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2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24.jp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oleObject" Target="../embeddings/oleObject14.bin"/><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6.png"/><Relationship Id="rId10" Type="http://schemas.openxmlformats.org/officeDocument/2006/relationships/image" Target="../media/image29.png"/><Relationship Id="rId4" Type="http://schemas.openxmlformats.org/officeDocument/2006/relationships/image" Target="../media/image1.emf"/><Relationship Id="rId9" Type="http://schemas.openxmlformats.org/officeDocument/2006/relationships/image" Target="../media/image28.svg"/><Relationship Id="rId14" Type="http://schemas.openxmlformats.org/officeDocument/2006/relationships/image" Target="../media/image33.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5" Type="http://schemas.openxmlformats.org/officeDocument/2006/relationships/image" Target="../media/image16.jp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1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8.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19.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20.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DE7BDD9-30ED-C030-BFDF-95BEDEF8FCF5}"/>
            </a:ext>
          </a:extLst>
        </p:cNvPr>
        <p:cNvGrpSpPr/>
        <p:nvPr/>
      </p:nvGrpSpPr>
      <p:grpSpPr>
        <a:xfrm>
          <a:off x="0" y="0"/>
          <a:ext cx="0" cy="0"/>
          <a:chOff x="0" y="0"/>
          <a:chExt cx="0" cy="0"/>
        </a:xfrm>
      </p:grpSpPr>
      <p:sp>
        <p:nvSpPr>
          <p:cNvPr id="17" name="Google Shape;2273;p337">
            <a:extLst>
              <a:ext uri="{FF2B5EF4-FFF2-40B4-BE49-F238E27FC236}">
                <a16:creationId xmlns:a16="http://schemas.microsoft.com/office/drawing/2014/main" id="{7272FA83-13C4-7227-C76E-D770C082DFE6}"/>
              </a:ext>
            </a:extLst>
          </p:cNvPr>
          <p:cNvSpPr txBox="1"/>
          <p:nvPr/>
        </p:nvSpPr>
        <p:spPr>
          <a:xfrm>
            <a:off x="4735264" y="998357"/>
            <a:ext cx="6122111" cy="3889017"/>
          </a:xfrm>
          <a:prstGeom prst="rect">
            <a:avLst/>
          </a:prstGeom>
          <a:noFill/>
          <a:ln>
            <a:noFill/>
          </a:ln>
        </p:spPr>
        <p:txBody>
          <a:bodyPr spcFirstLastPara="1" wrap="square" lIns="0" tIns="0" rIns="0" bIns="0" anchor="ctr" anchorCtr="0">
            <a:noAutofit/>
          </a:bodyPr>
          <a:lstStyle/>
          <a:p>
            <a:pPr marL="0" marR="0" lvl="0" indent="0" algn="l" rtl="0">
              <a:lnSpc>
                <a:spcPct val="85000"/>
              </a:lnSpc>
              <a:spcBef>
                <a:spcPts val="0"/>
              </a:spcBef>
              <a:spcAft>
                <a:spcPts val="0"/>
              </a:spcAft>
              <a:buClr>
                <a:srgbClr val="000000"/>
              </a:buClr>
              <a:buSzPts val="3400"/>
              <a:buFont typeface="Georgia"/>
              <a:buNone/>
            </a:pPr>
            <a:r>
              <a:rPr lang="de-DE" sz="4400" b="1" i="0" u="none" strike="noStrike" cap="none" dirty="0">
                <a:solidFill>
                  <a:schemeClr val="tx2"/>
                </a:solidFill>
                <a:latin typeface="Montserrat" panose="00000500000000000000" pitchFamily="2" charset="0"/>
                <a:ea typeface="Georgia"/>
                <a:cs typeface="Georgia"/>
                <a:sym typeface="Georgia"/>
              </a:rPr>
              <a:t>POWER TO THE PLATFORM</a:t>
            </a:r>
          </a:p>
          <a:p>
            <a:pPr marL="0" marR="0" lvl="0" indent="0" algn="l" rtl="0">
              <a:lnSpc>
                <a:spcPct val="85000"/>
              </a:lnSpc>
              <a:spcBef>
                <a:spcPts val="0"/>
              </a:spcBef>
              <a:spcAft>
                <a:spcPts val="0"/>
              </a:spcAft>
              <a:buClr>
                <a:srgbClr val="000000"/>
              </a:buClr>
              <a:buSzPts val="3400"/>
              <a:buFont typeface="Georgia"/>
              <a:buNone/>
            </a:pPr>
            <a:endParaRPr lang="en" sz="3200" dirty="0">
              <a:solidFill>
                <a:schemeClr val="bg1"/>
              </a:solidFill>
              <a:ea typeface="Georgia"/>
              <a:cs typeface="Georgia"/>
              <a:sym typeface="Georgia"/>
            </a:endParaRPr>
          </a:p>
          <a:p>
            <a:pPr marL="0" marR="0" lvl="0" indent="0" algn="l" rtl="0">
              <a:lnSpc>
                <a:spcPct val="85000"/>
              </a:lnSpc>
              <a:spcBef>
                <a:spcPts val="0"/>
              </a:spcBef>
              <a:spcAft>
                <a:spcPts val="0"/>
              </a:spcAft>
              <a:buClr>
                <a:srgbClr val="000000"/>
              </a:buClr>
              <a:buSzPts val="3400"/>
              <a:buFont typeface="Georgia"/>
              <a:buNone/>
            </a:pPr>
            <a:r>
              <a:rPr lang="en" sz="2800" dirty="0">
                <a:solidFill>
                  <a:schemeClr val="bg1"/>
                </a:solidFill>
                <a:ea typeface="Georgia"/>
                <a:cs typeface="Georgia"/>
                <a:sym typeface="Georgia"/>
              </a:rPr>
              <a:t>Power BI, Power Apps, Power Automate (und SharePoint)</a:t>
            </a:r>
          </a:p>
        </p:txBody>
      </p:sp>
      <p:sp>
        <p:nvSpPr>
          <p:cNvPr id="2" name="Rectangle 1">
            <a:extLst>
              <a:ext uri="{FF2B5EF4-FFF2-40B4-BE49-F238E27FC236}">
                <a16:creationId xmlns:a16="http://schemas.microsoft.com/office/drawing/2014/main" id="{D55EEE2C-48E4-8197-0319-476EF76B675C}"/>
              </a:ext>
            </a:extLst>
          </p:cNvPr>
          <p:cNvSpPr/>
          <p:nvPr/>
        </p:nvSpPr>
        <p:spPr>
          <a:xfrm>
            <a:off x="4735263" y="4440477"/>
            <a:ext cx="2548975" cy="614474"/>
          </a:xfrm>
          <a:prstGeom prst="rect">
            <a:avLst/>
          </a:prstGeom>
          <a:noFill/>
          <a:ln>
            <a:noFill/>
          </a:ln>
        </p:spPr>
        <p:txBody>
          <a:bodyPr spcFirstLastPara="1" wrap="square" lIns="0" tIns="0" rIns="0" bIns="0" anchor="ctr" anchorCtr="0">
            <a:noAutofit/>
          </a:bodyPr>
          <a:lstStyle/>
          <a:p>
            <a:pPr>
              <a:lnSpc>
                <a:spcPct val="85000"/>
              </a:lnSpc>
              <a:buClr>
                <a:srgbClr val="000000"/>
              </a:buClr>
              <a:buSzPts val="3400"/>
            </a:pPr>
            <a:r>
              <a:rPr lang="en-US" sz="1600" dirty="0">
                <a:solidFill>
                  <a:schemeClr val="bg1"/>
                </a:solidFill>
              </a:rPr>
              <a:t>November 2024</a:t>
            </a:r>
          </a:p>
        </p:txBody>
      </p:sp>
      <p:sp>
        <p:nvSpPr>
          <p:cNvPr id="8" name="Freeform: Shape 7">
            <a:extLst>
              <a:ext uri="{FF2B5EF4-FFF2-40B4-BE49-F238E27FC236}">
                <a16:creationId xmlns:a16="http://schemas.microsoft.com/office/drawing/2014/main" id="{8EF4540A-9010-279A-8694-AF3F2FBA8A5F}"/>
              </a:ext>
            </a:extLst>
          </p:cNvPr>
          <p:cNvSpPr/>
          <p:nvPr/>
        </p:nvSpPr>
        <p:spPr>
          <a:xfrm rot="18900000">
            <a:off x="1115508" y="-928578"/>
            <a:ext cx="1231174" cy="3874884"/>
          </a:xfrm>
          <a:custGeom>
            <a:avLst/>
            <a:gdLst>
              <a:gd name="connsiteX0" fmla="*/ 104893 w 1231174"/>
              <a:gd name="connsiteY0" fmla="*/ 0 h 3874884"/>
              <a:gd name="connsiteX1" fmla="*/ 1231174 w 1231174"/>
              <a:gd name="connsiteY1" fmla="*/ 1126281 h 3874884"/>
              <a:gd name="connsiteX2" fmla="*/ 1231174 w 1231174"/>
              <a:gd name="connsiteY2" fmla="*/ 3874884 h 3874884"/>
              <a:gd name="connsiteX3" fmla="*/ 0 w 1231174"/>
              <a:gd name="connsiteY3" fmla="*/ 3874884 h 3874884"/>
              <a:gd name="connsiteX4" fmla="*/ 0 w 1231174"/>
              <a:gd name="connsiteY4" fmla="*/ 104892 h 387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174" h="3874884">
                <a:moveTo>
                  <a:pt x="104893" y="0"/>
                </a:moveTo>
                <a:lnTo>
                  <a:pt x="1231174" y="1126281"/>
                </a:lnTo>
                <a:lnTo>
                  <a:pt x="1231174" y="3874884"/>
                </a:lnTo>
                <a:lnTo>
                  <a:pt x="0" y="3874884"/>
                </a:lnTo>
                <a:lnTo>
                  <a:pt x="0" y="104892"/>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9" name="Freeform: Shape 8">
            <a:extLst>
              <a:ext uri="{FF2B5EF4-FFF2-40B4-BE49-F238E27FC236}">
                <a16:creationId xmlns:a16="http://schemas.microsoft.com/office/drawing/2014/main" id="{E24A41F2-C185-DADC-37E3-DE3354AE2FD9}"/>
              </a:ext>
            </a:extLst>
          </p:cNvPr>
          <p:cNvSpPr/>
          <p:nvPr/>
        </p:nvSpPr>
        <p:spPr>
          <a:xfrm rot="18900000">
            <a:off x="2318073" y="-761554"/>
            <a:ext cx="1231174" cy="2227900"/>
          </a:xfrm>
          <a:custGeom>
            <a:avLst/>
            <a:gdLst>
              <a:gd name="connsiteX0" fmla="*/ 0 w 1231174"/>
              <a:gd name="connsiteY0" fmla="*/ 0 h 2227900"/>
              <a:gd name="connsiteX1" fmla="*/ 1231174 w 1231174"/>
              <a:gd name="connsiteY1" fmla="*/ 1231174 h 2227900"/>
              <a:gd name="connsiteX2" fmla="*/ 1231174 w 1231174"/>
              <a:gd name="connsiteY2" fmla="*/ 2227900 h 2227900"/>
              <a:gd name="connsiteX3" fmla="*/ 0 w 1231174"/>
              <a:gd name="connsiteY3" fmla="*/ 2227900 h 2227900"/>
            </a:gdLst>
            <a:ahLst/>
            <a:cxnLst>
              <a:cxn ang="0">
                <a:pos x="connsiteX0" y="connsiteY0"/>
              </a:cxn>
              <a:cxn ang="0">
                <a:pos x="connsiteX1" y="connsiteY1"/>
              </a:cxn>
              <a:cxn ang="0">
                <a:pos x="connsiteX2" y="connsiteY2"/>
              </a:cxn>
              <a:cxn ang="0">
                <a:pos x="connsiteX3" y="connsiteY3"/>
              </a:cxn>
            </a:cxnLst>
            <a:rect l="l" t="t" r="r" b="b"/>
            <a:pathLst>
              <a:path w="1231174" h="2227900">
                <a:moveTo>
                  <a:pt x="0" y="0"/>
                </a:moveTo>
                <a:lnTo>
                  <a:pt x="1231174" y="1231174"/>
                </a:lnTo>
                <a:lnTo>
                  <a:pt x="1231174" y="2227900"/>
                </a:lnTo>
                <a:lnTo>
                  <a:pt x="0" y="2227900"/>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10" name="Freeform: Shape 9">
            <a:extLst>
              <a:ext uri="{FF2B5EF4-FFF2-40B4-BE49-F238E27FC236}">
                <a16:creationId xmlns:a16="http://schemas.microsoft.com/office/drawing/2014/main" id="{8D5F103D-CCD0-5C29-A880-5CF519D3E438}"/>
              </a:ext>
            </a:extLst>
          </p:cNvPr>
          <p:cNvSpPr/>
          <p:nvPr/>
        </p:nvSpPr>
        <p:spPr>
          <a:xfrm rot="18900000">
            <a:off x="-285002" y="2243316"/>
            <a:ext cx="1231174" cy="2166208"/>
          </a:xfrm>
          <a:custGeom>
            <a:avLst/>
            <a:gdLst>
              <a:gd name="connsiteX0" fmla="*/ 1231174 w 1231174"/>
              <a:gd name="connsiteY0" fmla="*/ 0 h 2166208"/>
              <a:gd name="connsiteX1" fmla="*/ 1231174 w 1231174"/>
              <a:gd name="connsiteY1" fmla="*/ 2166208 h 2166208"/>
              <a:gd name="connsiteX2" fmla="*/ 0 w 1231174"/>
              <a:gd name="connsiteY2" fmla="*/ 2166208 h 2166208"/>
              <a:gd name="connsiteX3" fmla="*/ 0 w 1231174"/>
              <a:gd name="connsiteY3" fmla="*/ 1231174 h 2166208"/>
            </a:gdLst>
            <a:ahLst/>
            <a:cxnLst>
              <a:cxn ang="0">
                <a:pos x="connsiteX0" y="connsiteY0"/>
              </a:cxn>
              <a:cxn ang="0">
                <a:pos x="connsiteX1" y="connsiteY1"/>
              </a:cxn>
              <a:cxn ang="0">
                <a:pos x="connsiteX2" y="connsiteY2"/>
              </a:cxn>
              <a:cxn ang="0">
                <a:pos x="connsiteX3" y="connsiteY3"/>
              </a:cxn>
            </a:cxnLst>
            <a:rect l="l" t="t" r="r" b="b"/>
            <a:pathLst>
              <a:path w="1231174" h="2166208">
                <a:moveTo>
                  <a:pt x="1231174" y="0"/>
                </a:moveTo>
                <a:lnTo>
                  <a:pt x="1231174" y="2166208"/>
                </a:lnTo>
                <a:lnTo>
                  <a:pt x="0" y="2166208"/>
                </a:lnTo>
                <a:lnTo>
                  <a:pt x="0" y="1231174"/>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11" name="Freeform: Shape 10">
            <a:extLst>
              <a:ext uri="{FF2B5EF4-FFF2-40B4-BE49-F238E27FC236}">
                <a16:creationId xmlns:a16="http://schemas.microsoft.com/office/drawing/2014/main" id="{47B04847-7B17-A933-089D-EBF967982F90}"/>
              </a:ext>
            </a:extLst>
          </p:cNvPr>
          <p:cNvSpPr/>
          <p:nvPr/>
        </p:nvSpPr>
        <p:spPr>
          <a:xfrm rot="18900000">
            <a:off x="929660" y="782551"/>
            <a:ext cx="1231174" cy="3798997"/>
          </a:xfrm>
          <a:custGeom>
            <a:avLst/>
            <a:gdLst>
              <a:gd name="connsiteX0" fmla="*/ 1231174 w 1231174"/>
              <a:gd name="connsiteY0" fmla="*/ 0 h 3798997"/>
              <a:gd name="connsiteX1" fmla="*/ 1231174 w 1231174"/>
              <a:gd name="connsiteY1" fmla="*/ 3798997 h 3798997"/>
              <a:gd name="connsiteX2" fmla="*/ 0 w 1231174"/>
              <a:gd name="connsiteY2" fmla="*/ 3798997 h 3798997"/>
              <a:gd name="connsiteX3" fmla="*/ 0 w 1231174"/>
              <a:gd name="connsiteY3" fmla="*/ 329776 h 3798997"/>
              <a:gd name="connsiteX4" fmla="*/ 329776 w 1231174"/>
              <a:gd name="connsiteY4" fmla="*/ 0 h 3798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174" h="3798997">
                <a:moveTo>
                  <a:pt x="1231174" y="0"/>
                </a:moveTo>
                <a:lnTo>
                  <a:pt x="1231174" y="3798997"/>
                </a:lnTo>
                <a:lnTo>
                  <a:pt x="0" y="3798997"/>
                </a:lnTo>
                <a:lnTo>
                  <a:pt x="0" y="329776"/>
                </a:lnTo>
                <a:lnTo>
                  <a:pt x="329776" y="0"/>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pic>
        <p:nvPicPr>
          <p:cNvPr id="4" name="Grafik 3" descr="Ein Bild, das gelb enthält.&#10;&#10;Automatisch generierte Beschreibung">
            <a:extLst>
              <a:ext uri="{FF2B5EF4-FFF2-40B4-BE49-F238E27FC236}">
                <a16:creationId xmlns:a16="http://schemas.microsoft.com/office/drawing/2014/main" id="{003D26AF-B7AE-BC54-4654-A416E384BA24}"/>
              </a:ext>
            </a:extLst>
          </p:cNvPr>
          <p:cNvPicPr>
            <a:picLocks noChangeAspect="1"/>
          </p:cNvPicPr>
          <p:nvPr/>
        </p:nvPicPr>
        <p:blipFill>
          <a:blip r:embed="rId2"/>
          <a:srcRect l="33433" r="30117" b="19532"/>
          <a:stretch/>
        </p:blipFill>
        <p:spPr>
          <a:xfrm rot="18900000">
            <a:off x="300155" y="3211720"/>
            <a:ext cx="730352" cy="906934"/>
          </a:xfrm>
          <a:prstGeom prst="rect">
            <a:avLst/>
          </a:prstGeom>
        </p:spPr>
      </p:pic>
      <p:pic>
        <p:nvPicPr>
          <p:cNvPr id="7" name="Grafik 6" descr="Ein Bild, das Electric Blue (Farbe), Screenshot, Blau, Rechteck enthält.&#10;&#10;Automatisch generierte Beschreibung">
            <a:extLst>
              <a:ext uri="{FF2B5EF4-FFF2-40B4-BE49-F238E27FC236}">
                <a16:creationId xmlns:a16="http://schemas.microsoft.com/office/drawing/2014/main" id="{EBD347EB-73A8-07FC-6B8B-6CFC2B006C3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5529" b="73810" l="18783" r="80159">
                        <a14:foregroundMark x1="20767" y1="30423" x2="23413" y2="27910"/>
                        <a14:foregroundMark x1="20238" y1="71429" x2="56085" y2="73810"/>
                        <a14:foregroundMark x1="56085" y1="73810" x2="59392" y2="73413"/>
                        <a14:foregroundMark x1="77910" y1="52910" x2="77381" y2="48148"/>
                        <a14:foregroundMark x1="80423" y1="50132" x2="80423" y2="50132"/>
                        <a14:foregroundMark x1="28836" y1="26984" x2="28836" y2="25926"/>
                        <a14:foregroundMark x1="25265" y1="30423" x2="25265" y2="30423"/>
                        <a14:foregroundMark x1="20635" y1="26058" x2="20635" y2="26058"/>
                        <a14:foregroundMark x1="20238" y1="26058" x2="20238" y2="26058"/>
                        <a14:foregroundMark x1="21164" y1="26323" x2="19974" y2="26587"/>
                        <a14:foregroundMark x1="19444" y1="26984" x2="21958" y2="25926"/>
                        <a14:foregroundMark x1="20370" y1="26190" x2="19841" y2="26984"/>
                        <a14:backgroundMark x1="19148" y1="26576" x2="18386" y2="26984"/>
                      </a14:backgroundRemoval>
                    </a14:imgEffect>
                  </a14:imgLayer>
                </a14:imgProps>
              </a:ext>
            </a:extLst>
          </a:blip>
          <a:srcRect l="15667" t="20054" r="16099" b="21462"/>
          <a:stretch/>
        </p:blipFill>
        <p:spPr>
          <a:xfrm rot="18900000">
            <a:off x="2307596" y="1559540"/>
            <a:ext cx="846097" cy="725219"/>
          </a:xfrm>
          <a:prstGeom prst="rect">
            <a:avLst/>
          </a:prstGeom>
        </p:spPr>
      </p:pic>
      <p:pic>
        <p:nvPicPr>
          <p:cNvPr id="13" name="Grafik 12" descr="Ein Bild, das Screenshot, pink, Magenta, Flieder enthält.&#10;&#10;Automatisch generierte Beschreibung">
            <a:extLst>
              <a:ext uri="{FF2B5EF4-FFF2-40B4-BE49-F238E27FC236}">
                <a16:creationId xmlns:a16="http://schemas.microsoft.com/office/drawing/2014/main" id="{246C040A-2FEF-2843-1FAC-228778739756}"/>
              </a:ext>
            </a:extLst>
          </p:cNvPr>
          <p:cNvPicPr>
            <a:picLocks noChangeAspect="1"/>
          </p:cNvPicPr>
          <p:nvPr/>
        </p:nvPicPr>
        <p:blipFill>
          <a:blip r:embed="rId5"/>
          <a:stretch>
            <a:fillRect/>
          </a:stretch>
        </p:blipFill>
        <p:spPr>
          <a:xfrm rot="18900000">
            <a:off x="2050554" y="3229376"/>
            <a:ext cx="815863" cy="815863"/>
          </a:xfrm>
          <a:prstGeom prst="rect">
            <a:avLst/>
          </a:prstGeom>
        </p:spPr>
      </p:pic>
      <p:pic>
        <p:nvPicPr>
          <p:cNvPr id="15" name="Grafik 14" descr="Ein Bild, das Grafiken, Screenshot, Grafikdesign, Schrift enthält.&#10;&#10;Automatisch generierte Beschreibung">
            <a:extLst>
              <a:ext uri="{FF2B5EF4-FFF2-40B4-BE49-F238E27FC236}">
                <a16:creationId xmlns:a16="http://schemas.microsoft.com/office/drawing/2014/main" id="{1FB10680-47A4-E3C0-6C07-1F47C2796A67}"/>
              </a:ext>
            </a:extLst>
          </p:cNvPr>
          <p:cNvPicPr>
            <a:picLocks noChangeAspect="1"/>
          </p:cNvPicPr>
          <p:nvPr/>
        </p:nvPicPr>
        <p:blipFill>
          <a:blip r:embed="rId6"/>
          <a:srcRect l="26497" t="15381" r="26693" b="15570"/>
          <a:stretch/>
        </p:blipFill>
        <p:spPr>
          <a:xfrm rot="18900000">
            <a:off x="2908858" y="265102"/>
            <a:ext cx="829647" cy="815863"/>
          </a:xfrm>
          <a:prstGeom prst="rect">
            <a:avLst/>
          </a:prstGeom>
        </p:spPr>
      </p:pic>
      <p:pic>
        <p:nvPicPr>
          <p:cNvPr id="26" name="Picture 38" descr="A black and white sign with white letters&#10;&#10;Description automatically generated">
            <a:extLst>
              <a:ext uri="{FF2B5EF4-FFF2-40B4-BE49-F238E27FC236}">
                <a16:creationId xmlns:a16="http://schemas.microsoft.com/office/drawing/2014/main" id="{50C0E9FB-FB78-A504-D8A4-649096461026}"/>
              </a:ext>
            </a:extLst>
          </p:cNvPr>
          <p:cNvPicPr>
            <a:picLocks noChangeAspect="1"/>
          </p:cNvPicPr>
          <p:nvPr/>
        </p:nvPicPr>
        <p:blipFill>
          <a:blip r:embed="rId7"/>
          <a:stretch>
            <a:fillRect/>
          </a:stretch>
        </p:blipFill>
        <p:spPr>
          <a:xfrm>
            <a:off x="10515600" y="6097666"/>
            <a:ext cx="1286938" cy="399731"/>
          </a:xfrm>
          <a:prstGeom prst="rect">
            <a:avLst/>
          </a:prstGeom>
        </p:spPr>
      </p:pic>
    </p:spTree>
    <p:extLst>
      <p:ext uri="{BB962C8B-B14F-4D97-AF65-F5344CB8AC3E}">
        <p14:creationId xmlns:p14="http://schemas.microsoft.com/office/powerpoint/2010/main" val="3560795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C5556385-188A-703B-479C-C12CB15F2A4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F5D52-B878-881F-D468-0642DA66F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F35F5D52-B878-881F-D468-0642DA66F0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E04DB5-B4E0-F381-E75C-4200F7B1F610}"/>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sp>
        <p:nvSpPr>
          <p:cNvPr id="8" name="Rechteck 7">
            <a:extLst>
              <a:ext uri="{FF2B5EF4-FFF2-40B4-BE49-F238E27FC236}">
                <a16:creationId xmlns:a16="http://schemas.microsoft.com/office/drawing/2014/main" id="{F341524C-4D4F-2DA7-CD57-0924B251D44A}"/>
              </a:ext>
            </a:extLst>
          </p:cNvPr>
          <p:cNvSpPr/>
          <p:nvPr/>
        </p:nvSpPr>
        <p:spPr>
          <a:xfrm>
            <a:off x="377960" y="2206848"/>
            <a:ext cx="5445953" cy="3618765"/>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Der fertige Flow aus Power </a:t>
            </a:r>
            <a:r>
              <a:rPr lang="de-DE" sz="2000" b="1" dirty="0" err="1">
                <a:solidFill>
                  <a:schemeClr val="tx1"/>
                </a:solidFill>
              </a:rPr>
              <a:t>Automate</a:t>
            </a:r>
            <a:r>
              <a:rPr lang="de-DE" sz="2000" b="1" dirty="0">
                <a:solidFill>
                  <a:schemeClr val="tx1"/>
                </a:solidFill>
              </a:rPr>
              <a:t>, um den </a:t>
            </a:r>
            <a:r>
              <a:rPr lang="de-DE" sz="2000" b="1" dirty="0" err="1">
                <a:solidFill>
                  <a:schemeClr val="tx1"/>
                </a:solidFill>
              </a:rPr>
              <a:t>Dataflow</a:t>
            </a:r>
            <a:r>
              <a:rPr lang="de-DE" sz="2000" b="1" dirty="0">
                <a:solidFill>
                  <a:schemeClr val="tx1"/>
                </a:solidFill>
              </a:rPr>
              <a:t> und das semantische Modell zu aktualisieren. Nebenbei wird ein Anwender per Mail und Teams benachrichtigt.</a:t>
            </a:r>
          </a:p>
        </p:txBody>
      </p:sp>
      <p:pic>
        <p:nvPicPr>
          <p:cNvPr id="4" name="Grafik 3">
            <a:extLst>
              <a:ext uri="{FF2B5EF4-FFF2-40B4-BE49-F238E27FC236}">
                <a16:creationId xmlns:a16="http://schemas.microsoft.com/office/drawing/2014/main" id="{B5BEB832-6845-5E9A-B88A-574176EE9D5E}"/>
              </a:ext>
            </a:extLst>
          </p:cNvPr>
          <p:cNvPicPr>
            <a:picLocks noChangeAspect="1"/>
          </p:cNvPicPr>
          <p:nvPr/>
        </p:nvPicPr>
        <p:blipFill>
          <a:blip r:embed="rId5"/>
          <a:stretch>
            <a:fillRect/>
          </a:stretch>
        </p:blipFill>
        <p:spPr>
          <a:xfrm>
            <a:off x="6697940" y="47153"/>
            <a:ext cx="5201376" cy="6763694"/>
          </a:xfrm>
          <a:prstGeom prst="rect">
            <a:avLst/>
          </a:prstGeom>
        </p:spPr>
      </p:pic>
    </p:spTree>
    <p:extLst>
      <p:ext uri="{BB962C8B-B14F-4D97-AF65-F5344CB8AC3E}">
        <p14:creationId xmlns:p14="http://schemas.microsoft.com/office/powerpoint/2010/main" val="31338830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459D9342-41EF-BA0A-FE6B-8AA903A43818}"/>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ECB99E-4505-7A39-C0D6-237D120421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33ECB99E-4505-7A39-C0D6-237D120421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F3B238-3A03-6115-43CF-3A8693BFE07F}"/>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sp>
        <p:nvSpPr>
          <p:cNvPr id="8" name="Rechteck 7">
            <a:extLst>
              <a:ext uri="{FF2B5EF4-FFF2-40B4-BE49-F238E27FC236}">
                <a16:creationId xmlns:a16="http://schemas.microsoft.com/office/drawing/2014/main" id="{1424DB7B-F6CF-B5CF-EEE7-2F629C7523D9}"/>
              </a:ext>
            </a:extLst>
          </p:cNvPr>
          <p:cNvSpPr/>
          <p:nvPr/>
        </p:nvSpPr>
        <p:spPr>
          <a:xfrm>
            <a:off x="377960" y="5704881"/>
            <a:ext cx="11208774" cy="946641"/>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Nach dem Einfügen des Power-Apps-Visual werde ich in den Designer weitergeleitet. </a:t>
            </a:r>
            <a:br>
              <a:rPr lang="de-DE" sz="2000" b="1" dirty="0">
                <a:solidFill>
                  <a:schemeClr val="tx1"/>
                </a:solidFill>
              </a:rPr>
            </a:br>
            <a:r>
              <a:rPr lang="de-DE" sz="2000" b="1" dirty="0">
                <a:solidFill>
                  <a:schemeClr val="tx1"/>
                </a:solidFill>
              </a:rPr>
              <a:t>WICHTIG! Immer erst mit einem Attribut die Verbindung herstellen, das funktioniert stabiler.</a:t>
            </a:r>
          </a:p>
        </p:txBody>
      </p:sp>
      <p:pic>
        <p:nvPicPr>
          <p:cNvPr id="6" name="Grafik 5">
            <a:extLst>
              <a:ext uri="{FF2B5EF4-FFF2-40B4-BE49-F238E27FC236}">
                <a16:creationId xmlns:a16="http://schemas.microsoft.com/office/drawing/2014/main" id="{22AA622B-93F2-A65A-6EBD-1CFEC62AFFF6}"/>
              </a:ext>
            </a:extLst>
          </p:cNvPr>
          <p:cNvPicPr>
            <a:picLocks noChangeAspect="1"/>
          </p:cNvPicPr>
          <p:nvPr/>
        </p:nvPicPr>
        <p:blipFill>
          <a:blip r:embed="rId5"/>
          <a:stretch>
            <a:fillRect/>
          </a:stretch>
        </p:blipFill>
        <p:spPr>
          <a:xfrm>
            <a:off x="377960" y="992942"/>
            <a:ext cx="11208774" cy="4647193"/>
          </a:xfrm>
          <a:prstGeom prst="rect">
            <a:avLst/>
          </a:prstGeom>
        </p:spPr>
      </p:pic>
    </p:spTree>
    <p:extLst>
      <p:ext uri="{BB962C8B-B14F-4D97-AF65-F5344CB8AC3E}">
        <p14:creationId xmlns:p14="http://schemas.microsoft.com/office/powerpoint/2010/main" val="419888479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9D6DEC08-772A-A429-BCE3-BEFBB7C1A027}"/>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54E773-F67D-2C8F-5EA9-073757A91A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D754E773-F67D-2C8F-5EA9-073757A91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590B3B-1A43-D5F2-7F2C-B2579105D3F3}"/>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sp>
        <p:nvSpPr>
          <p:cNvPr id="8" name="Rechteck 7">
            <a:extLst>
              <a:ext uri="{FF2B5EF4-FFF2-40B4-BE49-F238E27FC236}">
                <a16:creationId xmlns:a16="http://schemas.microsoft.com/office/drawing/2014/main" id="{D687C93C-ADE3-E1E0-41C1-167DFD8F1FA8}"/>
              </a:ext>
            </a:extLst>
          </p:cNvPr>
          <p:cNvSpPr/>
          <p:nvPr/>
        </p:nvSpPr>
        <p:spPr>
          <a:xfrm>
            <a:off x="7890386" y="1127551"/>
            <a:ext cx="3696347" cy="5523972"/>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Neben dem Erstellen über das Einfügen </a:t>
            </a:r>
            <a:r>
              <a:rPr lang="de-DE" sz="2000" b="1" dirty="0" err="1">
                <a:solidFill>
                  <a:schemeClr val="tx1"/>
                </a:solidFill>
              </a:rPr>
              <a:t>desVisuals</a:t>
            </a:r>
            <a:r>
              <a:rPr lang="de-DE" sz="2000" b="1" dirty="0">
                <a:solidFill>
                  <a:schemeClr val="tx1"/>
                </a:solidFill>
              </a:rPr>
              <a:t> in  Power BI kann ich auch eine App im Designer vorab erstellen und den vollen Funktionsumfang ausschöpfen.</a:t>
            </a:r>
            <a:br>
              <a:rPr lang="de-DE" sz="2000" b="1" dirty="0">
                <a:solidFill>
                  <a:schemeClr val="tx1"/>
                </a:solidFill>
              </a:rPr>
            </a:br>
            <a:br>
              <a:rPr lang="de-DE" sz="2000" b="1" dirty="0">
                <a:solidFill>
                  <a:schemeClr val="tx1"/>
                </a:solidFill>
              </a:rPr>
            </a:br>
            <a:r>
              <a:rPr lang="de-DE" sz="2000" b="1" dirty="0">
                <a:solidFill>
                  <a:schemeClr val="tx1"/>
                </a:solidFill>
              </a:rPr>
              <a:t>Denkt an gute Namenskonventionen, gerade bei mehrseitigen Apps!</a:t>
            </a:r>
          </a:p>
        </p:txBody>
      </p:sp>
      <p:pic>
        <p:nvPicPr>
          <p:cNvPr id="4" name="Grafik 3">
            <a:extLst>
              <a:ext uri="{FF2B5EF4-FFF2-40B4-BE49-F238E27FC236}">
                <a16:creationId xmlns:a16="http://schemas.microsoft.com/office/drawing/2014/main" id="{FB18137F-49EB-CFEF-3B83-63D843E1CC51}"/>
              </a:ext>
            </a:extLst>
          </p:cNvPr>
          <p:cNvPicPr>
            <a:picLocks noChangeAspect="1"/>
          </p:cNvPicPr>
          <p:nvPr/>
        </p:nvPicPr>
        <p:blipFill>
          <a:blip r:embed="rId5"/>
          <a:stretch>
            <a:fillRect/>
          </a:stretch>
        </p:blipFill>
        <p:spPr>
          <a:xfrm>
            <a:off x="377960" y="1127549"/>
            <a:ext cx="7348402" cy="5523971"/>
          </a:xfrm>
          <a:prstGeom prst="rect">
            <a:avLst/>
          </a:prstGeom>
        </p:spPr>
      </p:pic>
    </p:spTree>
    <p:extLst>
      <p:ext uri="{BB962C8B-B14F-4D97-AF65-F5344CB8AC3E}">
        <p14:creationId xmlns:p14="http://schemas.microsoft.com/office/powerpoint/2010/main" val="3731862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FDDBFD1-8DA1-1614-EDAD-190ADBA66636}"/>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6CE389-E44C-BCC8-2893-C5E864E209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296CE389-E44C-BCC8-2893-C5E864E209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09895-4240-F1A8-BCEC-5E7F5FE19DBE}"/>
              </a:ext>
            </a:extLst>
          </p:cNvPr>
          <p:cNvSpPr>
            <a:spLocks noGrp="1"/>
          </p:cNvSpPr>
          <p:nvPr>
            <p:ph type="title"/>
          </p:nvPr>
        </p:nvSpPr>
        <p:spPr>
          <a:xfrm>
            <a:off x="1" y="435753"/>
            <a:ext cx="2529741"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It’s magic!</a:t>
            </a:r>
          </a:p>
        </p:txBody>
      </p:sp>
      <p:pic>
        <p:nvPicPr>
          <p:cNvPr id="4" name="Grafik 3" descr="Ein Bild, das Animierter Cartoon, Regenbogen, Animation, Clipart enthält.&#10;&#10;Automatisch generierte Beschreibung">
            <a:extLst>
              <a:ext uri="{FF2B5EF4-FFF2-40B4-BE49-F238E27FC236}">
                <a16:creationId xmlns:a16="http://schemas.microsoft.com/office/drawing/2014/main" id="{8F7C36CE-A599-3074-90A8-3B5A8CFFF866}"/>
              </a:ext>
            </a:extLst>
          </p:cNvPr>
          <p:cNvPicPr>
            <a:picLocks noChangeAspect="1"/>
          </p:cNvPicPr>
          <p:nvPr/>
        </p:nvPicPr>
        <p:blipFill>
          <a:blip r:embed="rId5"/>
          <a:stretch>
            <a:fillRect/>
          </a:stretch>
        </p:blipFill>
        <p:spPr>
          <a:xfrm>
            <a:off x="3152214" y="718157"/>
            <a:ext cx="7228915" cy="5421686"/>
          </a:xfrm>
          <a:prstGeom prst="rect">
            <a:avLst/>
          </a:prstGeom>
        </p:spPr>
      </p:pic>
    </p:spTree>
    <p:extLst>
      <p:ext uri="{BB962C8B-B14F-4D97-AF65-F5344CB8AC3E}">
        <p14:creationId xmlns:p14="http://schemas.microsoft.com/office/powerpoint/2010/main" val="2932939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49A215F-485E-30B9-1358-C0D0E1C5B83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B6E0D4-76CD-7CA7-9BF9-ABE211DEBF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8B6E0D4-76CD-7CA7-9BF9-ABE211DEBF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5A2D1173-64CA-0788-CD96-3FBC5A40F368}"/>
              </a:ext>
            </a:extLst>
          </p:cNvPr>
          <p:cNvSpPr/>
          <p:nvPr/>
        </p:nvSpPr>
        <p:spPr>
          <a:xfrm>
            <a:off x="753971" y="4801992"/>
            <a:ext cx="3197407" cy="673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45720" rIns="91440" bIns="45720" rtlCol="0" anchor="t"/>
          <a:lstStyle/>
          <a:p>
            <a:pPr algn="ctr"/>
            <a:r>
              <a:rPr lang="en-US" sz="2400" b="1" err="1">
                <a:solidFill>
                  <a:srgbClr val="F2C811"/>
                </a:solidFill>
                <a:latin typeface="Montserrat"/>
              </a:rPr>
              <a:t>Ulrik</a:t>
            </a:r>
            <a:r>
              <a:rPr lang="en-US" sz="2400" b="1">
                <a:solidFill>
                  <a:srgbClr val="F2C811"/>
                </a:solidFill>
                <a:latin typeface="Montserrat"/>
              </a:rPr>
              <a:t> </a:t>
            </a:r>
            <a:r>
              <a:rPr lang="en-US" sz="2400" b="1" err="1">
                <a:solidFill>
                  <a:srgbClr val="F2C811"/>
                </a:solidFill>
                <a:latin typeface="Montserrat"/>
              </a:rPr>
              <a:t>Harnisch</a:t>
            </a:r>
            <a:endParaRPr lang="en-US"/>
          </a:p>
          <a:p>
            <a:pPr algn="ctr"/>
            <a:r>
              <a:rPr lang="en-US" sz="1600">
                <a:solidFill>
                  <a:schemeClr val="bg1"/>
                </a:solidFill>
              </a:rPr>
              <a:t>Full Stack Power BI Engineer</a:t>
            </a:r>
            <a:endParaRPr lang="en-US" sz="1600">
              <a:solidFill>
                <a:srgbClr val="000000"/>
              </a:solidFill>
            </a:endParaRPr>
          </a:p>
        </p:txBody>
      </p:sp>
      <p:pic>
        <p:nvPicPr>
          <p:cNvPr id="39" name="Picture 38" descr="A black and white sign with white letters&#10;&#10;Description automatically generated">
            <a:extLst>
              <a:ext uri="{FF2B5EF4-FFF2-40B4-BE49-F238E27FC236}">
                <a16:creationId xmlns:a16="http://schemas.microsoft.com/office/drawing/2014/main" id="{604745A1-5570-B729-1B2B-DAFF165E0293}"/>
              </a:ext>
            </a:extLst>
          </p:cNvPr>
          <p:cNvPicPr>
            <a:picLocks noChangeAspect="1"/>
          </p:cNvPicPr>
          <p:nvPr/>
        </p:nvPicPr>
        <p:blipFill>
          <a:blip r:embed="rId5"/>
          <a:stretch>
            <a:fillRect/>
          </a:stretch>
        </p:blipFill>
        <p:spPr>
          <a:xfrm>
            <a:off x="10515600" y="6097666"/>
            <a:ext cx="1286938" cy="399731"/>
          </a:xfrm>
          <a:prstGeom prst="rect">
            <a:avLst/>
          </a:prstGeom>
        </p:spPr>
      </p:pic>
      <p:sp>
        <p:nvSpPr>
          <p:cNvPr id="19" name="Right Triangle 18">
            <a:extLst>
              <a:ext uri="{FF2B5EF4-FFF2-40B4-BE49-F238E27FC236}">
                <a16:creationId xmlns:a16="http://schemas.microsoft.com/office/drawing/2014/main" id="{F6DDF609-80A4-57F9-D10D-F8C96230F63B}"/>
              </a:ext>
            </a:extLst>
          </p:cNvPr>
          <p:cNvSpPr/>
          <p:nvPr/>
        </p:nvSpPr>
        <p:spPr>
          <a:xfrm>
            <a:off x="4460850" y="5030000"/>
            <a:ext cx="705346" cy="705346"/>
          </a:xfrm>
          <a:prstGeom prst="rtTriangle">
            <a:avLst/>
          </a:prstGeom>
          <a:pattFill prst="pct5">
            <a:fgClr>
              <a:schemeClr val="accent6"/>
            </a:fgClr>
            <a:bgClr>
              <a:schemeClr val="tx1"/>
            </a:bgClr>
          </a:pattFill>
          <a:ln>
            <a:noFill/>
          </a:ln>
          <a:effectLst>
            <a:outerShdw blurRad="63500" dist="38100" dir="2700000">
              <a:srgbClr val="000000">
                <a:alpha val="40000"/>
              </a:srgbClr>
            </a:outerShdw>
            <a:reflection stA="40000" endPos="54000" dist="508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8" name="Right Triangle 37">
            <a:extLst>
              <a:ext uri="{FF2B5EF4-FFF2-40B4-BE49-F238E27FC236}">
                <a16:creationId xmlns:a16="http://schemas.microsoft.com/office/drawing/2014/main" id="{E01ABD1B-BEA6-83A6-A0FB-B1F3AF134E86}"/>
              </a:ext>
            </a:extLst>
          </p:cNvPr>
          <p:cNvSpPr/>
          <p:nvPr/>
        </p:nvSpPr>
        <p:spPr>
          <a:xfrm rot="10800000">
            <a:off x="10971487" y="693406"/>
            <a:ext cx="705346" cy="705346"/>
          </a:xfrm>
          <a:prstGeom prst="rtTriangle">
            <a:avLst/>
          </a:prstGeom>
          <a:pattFill prst="pct5">
            <a:fgClr>
              <a:schemeClr val="accent6"/>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 name="Rectangle 7">
            <a:extLst>
              <a:ext uri="{FF2B5EF4-FFF2-40B4-BE49-F238E27FC236}">
                <a16:creationId xmlns:a16="http://schemas.microsoft.com/office/drawing/2014/main" id="{9355853F-763B-54C2-31E5-D4C157FBF27D}"/>
              </a:ext>
            </a:extLst>
          </p:cNvPr>
          <p:cNvSpPr/>
          <p:nvPr/>
        </p:nvSpPr>
        <p:spPr>
          <a:xfrm>
            <a:off x="5377758" y="3070456"/>
            <a:ext cx="5705460" cy="81452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91440" tIns="45720" rIns="91440" bIns="45720" rtlCol="0" anchor="t"/>
          <a:lstStyle/>
          <a:p>
            <a:r>
              <a:rPr lang="en-US" sz="1600" b="1" dirty="0">
                <a:solidFill>
                  <a:srgbClr val="F2C811"/>
                </a:solidFill>
                <a:latin typeface="Montserrat"/>
                <a:ea typeface="+mn-lt"/>
                <a:cs typeface="+mn-lt"/>
              </a:rPr>
              <a:t>REFERENZEN</a:t>
            </a:r>
          </a:p>
          <a:p>
            <a:r>
              <a:rPr lang="en-US" sz="1600" dirty="0" err="1">
                <a:solidFill>
                  <a:schemeClr val="bg1"/>
                </a:solidFill>
                <a:cs typeface="Arial"/>
              </a:rPr>
              <a:t>Rheinland</a:t>
            </a:r>
            <a:r>
              <a:rPr lang="en-US" sz="1600" dirty="0">
                <a:solidFill>
                  <a:schemeClr val="bg1"/>
                </a:solidFill>
                <a:cs typeface="Arial"/>
              </a:rPr>
              <a:t> </a:t>
            </a:r>
            <a:r>
              <a:rPr lang="en-US" sz="1600" dirty="0" err="1">
                <a:solidFill>
                  <a:schemeClr val="bg1"/>
                </a:solidFill>
                <a:cs typeface="Arial"/>
              </a:rPr>
              <a:t>Versicherungs</a:t>
            </a:r>
            <a:r>
              <a:rPr lang="en-US" sz="1600" dirty="0">
                <a:solidFill>
                  <a:schemeClr val="bg1"/>
                </a:solidFill>
                <a:cs typeface="Arial"/>
              </a:rPr>
              <a:t> AG, Deutsche Bahn, Siemens.</a:t>
            </a:r>
          </a:p>
        </p:txBody>
      </p:sp>
      <p:sp>
        <p:nvSpPr>
          <p:cNvPr id="21" name="TextBox 20">
            <a:extLst>
              <a:ext uri="{FF2B5EF4-FFF2-40B4-BE49-F238E27FC236}">
                <a16:creationId xmlns:a16="http://schemas.microsoft.com/office/drawing/2014/main" id="{B75498B8-16F5-B696-087B-6660F9C2DBF7}"/>
              </a:ext>
            </a:extLst>
          </p:cNvPr>
          <p:cNvSpPr txBox="1"/>
          <p:nvPr/>
        </p:nvSpPr>
        <p:spPr>
          <a:xfrm>
            <a:off x="4896560" y="957417"/>
            <a:ext cx="4612995" cy="369332"/>
          </a:xfrm>
          <a:prstGeom prst="rect">
            <a:avLst/>
          </a:prstGeom>
          <a:noFill/>
        </p:spPr>
        <p:txBody>
          <a:bodyPr wrap="square" lIns="0" tIns="0" rIns="0" bIns="0" rtlCol="0" anchor="t">
            <a:spAutoFit/>
          </a:bodyPr>
          <a:lstStyle/>
          <a:p>
            <a:r>
              <a:rPr lang="de-DE" sz="2400" b="1">
                <a:solidFill>
                  <a:srgbClr val="F2C811"/>
                </a:solidFill>
                <a:latin typeface="Montserrat"/>
                <a:ea typeface="+mn-lt"/>
                <a:cs typeface="+mn-lt"/>
              </a:rPr>
              <a:t>Der Analytics-Mentor</a:t>
            </a:r>
          </a:p>
        </p:txBody>
      </p:sp>
      <p:sp>
        <p:nvSpPr>
          <p:cNvPr id="29" name="TextBox 28">
            <a:extLst>
              <a:ext uri="{FF2B5EF4-FFF2-40B4-BE49-F238E27FC236}">
                <a16:creationId xmlns:a16="http://schemas.microsoft.com/office/drawing/2014/main" id="{E1F5BE69-89B4-A4C0-40C8-ADD143B67246}"/>
              </a:ext>
            </a:extLst>
          </p:cNvPr>
          <p:cNvSpPr txBox="1"/>
          <p:nvPr/>
        </p:nvSpPr>
        <p:spPr>
          <a:xfrm>
            <a:off x="5412186" y="1663065"/>
            <a:ext cx="5918459" cy="1077218"/>
          </a:xfrm>
          <a:prstGeom prst="rect">
            <a:avLst/>
          </a:prstGeom>
          <a:noFill/>
        </p:spPr>
        <p:txBody>
          <a:bodyPr wrap="square" lIns="91440" tIns="45720" rIns="91440" bIns="45720" anchor="t">
            <a:spAutoFit/>
          </a:bodyPr>
          <a:lstStyle/>
          <a:p>
            <a:r>
              <a:rPr lang="en-US" sz="1600" b="1">
                <a:solidFill>
                  <a:srgbClr val="F2C811"/>
                </a:solidFill>
                <a:latin typeface="Montserrat"/>
              </a:rPr>
              <a:t>SKILLS</a:t>
            </a:r>
            <a:endParaRPr lang="en-US" sz="1600" b="1">
              <a:solidFill>
                <a:srgbClr val="F2C811"/>
              </a:solidFill>
              <a:latin typeface="Montserrat"/>
              <a:cs typeface="Arial"/>
            </a:endParaRPr>
          </a:p>
          <a:p>
            <a:r>
              <a:rPr lang="en-US" sz="1600" err="1">
                <a:solidFill>
                  <a:schemeClr val="bg1"/>
                </a:solidFill>
                <a:cs typeface="Arial"/>
              </a:rPr>
              <a:t>Anforderungsmanagement</a:t>
            </a:r>
            <a:r>
              <a:rPr lang="en-US" sz="1600">
                <a:solidFill>
                  <a:schemeClr val="bg1"/>
                </a:solidFill>
                <a:cs typeface="Arial"/>
              </a:rPr>
              <a:t>, Microsoft Power BI, </a:t>
            </a:r>
            <a:r>
              <a:rPr lang="en-US" sz="1600" err="1">
                <a:solidFill>
                  <a:schemeClr val="bg1"/>
                </a:solidFill>
                <a:cs typeface="Arial"/>
              </a:rPr>
              <a:t>Projektsteuerung</a:t>
            </a:r>
            <a:r>
              <a:rPr lang="en-US" sz="1600">
                <a:solidFill>
                  <a:schemeClr val="bg1"/>
                </a:solidFill>
                <a:cs typeface="Arial"/>
              </a:rPr>
              <a:t>, Dashboard </a:t>
            </a:r>
            <a:r>
              <a:rPr lang="en-US" sz="1600" err="1">
                <a:solidFill>
                  <a:schemeClr val="bg1"/>
                </a:solidFill>
                <a:cs typeface="Arial"/>
              </a:rPr>
              <a:t>Methodik</a:t>
            </a:r>
            <a:r>
              <a:rPr lang="en-US" sz="1600">
                <a:solidFill>
                  <a:schemeClr val="bg1"/>
                </a:solidFill>
                <a:cs typeface="Arial"/>
              </a:rPr>
              <a:t>, </a:t>
            </a:r>
            <a:r>
              <a:rPr lang="en-US" sz="1600" err="1">
                <a:solidFill>
                  <a:schemeClr val="bg1"/>
                </a:solidFill>
                <a:cs typeface="Arial"/>
              </a:rPr>
              <a:t>Datenvisualisierung</a:t>
            </a:r>
            <a:r>
              <a:rPr lang="en-US" sz="1600">
                <a:solidFill>
                  <a:schemeClr val="bg1"/>
                </a:solidFill>
                <a:cs typeface="Arial"/>
              </a:rPr>
              <a:t>, </a:t>
            </a:r>
            <a:r>
              <a:rPr lang="en-US" sz="1600" err="1">
                <a:solidFill>
                  <a:schemeClr val="bg1"/>
                </a:solidFill>
                <a:cs typeface="Arial"/>
              </a:rPr>
              <a:t>Datenmodellierung</a:t>
            </a:r>
            <a:r>
              <a:rPr lang="en-US" sz="1600">
                <a:solidFill>
                  <a:schemeClr val="bg1"/>
                </a:solidFill>
                <a:cs typeface="Arial"/>
              </a:rPr>
              <a:t>, </a:t>
            </a:r>
            <a:r>
              <a:rPr lang="en-US" sz="1600" err="1">
                <a:solidFill>
                  <a:schemeClr val="bg1"/>
                </a:solidFill>
                <a:cs typeface="Arial"/>
              </a:rPr>
              <a:t>Datenaufbereitung</a:t>
            </a:r>
            <a:r>
              <a:rPr lang="en-US" sz="1600">
                <a:solidFill>
                  <a:schemeClr val="bg1"/>
                </a:solidFill>
                <a:cs typeface="Arial"/>
              </a:rPr>
              <a:t> und Integration.</a:t>
            </a:r>
          </a:p>
        </p:txBody>
      </p:sp>
      <p:sp>
        <p:nvSpPr>
          <p:cNvPr id="30" name="Rectangle 29">
            <a:extLst>
              <a:ext uri="{FF2B5EF4-FFF2-40B4-BE49-F238E27FC236}">
                <a16:creationId xmlns:a16="http://schemas.microsoft.com/office/drawing/2014/main" id="{2BD13853-5F37-19F3-EC80-73C55DECD2EA}"/>
              </a:ext>
            </a:extLst>
          </p:cNvPr>
          <p:cNvSpPr/>
          <p:nvPr/>
        </p:nvSpPr>
        <p:spPr>
          <a:xfrm>
            <a:off x="5412188" y="4214984"/>
            <a:ext cx="5918459" cy="81452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91440" tIns="45720" rIns="91440" bIns="45720" rtlCol="0" anchor="t"/>
          <a:lstStyle/>
          <a:p>
            <a:pPr algn="just"/>
            <a:r>
              <a:rPr lang="de-DE" sz="1600" b="1">
                <a:solidFill>
                  <a:srgbClr val="F2C811"/>
                </a:solidFill>
                <a:latin typeface="Montserrat"/>
                <a:cs typeface="Arial"/>
              </a:rPr>
              <a:t>ÜBER IHN</a:t>
            </a:r>
          </a:p>
          <a:p>
            <a:pPr algn="just"/>
            <a:r>
              <a:rPr lang="de-DE" sz="1600">
                <a:solidFill>
                  <a:schemeClr val="bg1"/>
                </a:solidFill>
                <a:cs typeface="Arial"/>
              </a:rPr>
              <a:t>Begeisterter Konzert- &amp; Sporteventgänger und Technikfreak. Er lebt mit Frau und zwei seiner drei Kinder am Niederrhein in Willich, spielt gebannt Diablo und lässt sich von seinen Kindern gerne Empfehlungen für lustige Serien geben.</a:t>
            </a:r>
            <a:endParaRPr lang="en-US" sz="1600">
              <a:solidFill>
                <a:schemeClr val="bg1"/>
              </a:solidFill>
              <a:cs typeface="Arial"/>
            </a:endParaRPr>
          </a:p>
        </p:txBody>
      </p:sp>
      <p:sp>
        <p:nvSpPr>
          <p:cNvPr id="37" name="Oval 36">
            <a:extLst>
              <a:ext uri="{FF2B5EF4-FFF2-40B4-BE49-F238E27FC236}">
                <a16:creationId xmlns:a16="http://schemas.microsoft.com/office/drawing/2014/main" id="{FA7C7527-86AF-9E8D-07B4-27DFB5F1869A}"/>
              </a:ext>
            </a:extLst>
          </p:cNvPr>
          <p:cNvSpPr/>
          <p:nvPr/>
        </p:nvSpPr>
        <p:spPr>
          <a:xfrm>
            <a:off x="646953" y="1386769"/>
            <a:ext cx="3411442" cy="3411442"/>
          </a:xfrm>
          <a:prstGeom prst="ellipse">
            <a:avLst/>
          </a:prstGeom>
          <a:solidFill>
            <a:srgbClr val="F2C811"/>
          </a:solid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grpSp>
        <p:nvGrpSpPr>
          <p:cNvPr id="11" name="Group 10">
            <a:extLst>
              <a:ext uri="{FF2B5EF4-FFF2-40B4-BE49-F238E27FC236}">
                <a16:creationId xmlns:a16="http://schemas.microsoft.com/office/drawing/2014/main" id="{D4D62A0A-D04C-FA42-82C8-5DF216ACF4A9}"/>
              </a:ext>
            </a:extLst>
          </p:cNvPr>
          <p:cNvGrpSpPr/>
          <p:nvPr/>
        </p:nvGrpSpPr>
        <p:grpSpPr>
          <a:xfrm>
            <a:off x="4905841" y="4300932"/>
            <a:ext cx="479959" cy="413758"/>
            <a:chOff x="4987767" y="3616079"/>
            <a:chExt cx="479959" cy="413758"/>
          </a:xfrm>
          <a:solidFill>
            <a:schemeClr val="tx1"/>
          </a:solidFill>
        </p:grpSpPr>
        <p:sp>
          <p:nvSpPr>
            <p:cNvPr id="6" name="Hexagon 5">
              <a:extLst>
                <a:ext uri="{FF2B5EF4-FFF2-40B4-BE49-F238E27FC236}">
                  <a16:creationId xmlns:a16="http://schemas.microsoft.com/office/drawing/2014/main" id="{3370BEAD-CAAC-D279-14DE-9E6F1D585EBB}"/>
                </a:ext>
              </a:extLst>
            </p:cNvPr>
            <p:cNvSpPr/>
            <p:nvPr/>
          </p:nvSpPr>
          <p:spPr>
            <a:xfrm>
              <a:off x="4987767" y="3616079"/>
              <a:ext cx="479959" cy="413758"/>
            </a:xfrm>
            <a:prstGeom prst="hexagon">
              <a:avLst/>
            </a:prstGeom>
            <a:grp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7" name="Graphic 6" descr="Tropical scene outline">
              <a:extLst>
                <a:ext uri="{FF2B5EF4-FFF2-40B4-BE49-F238E27FC236}">
                  <a16:creationId xmlns:a16="http://schemas.microsoft.com/office/drawing/2014/main" id="{042C7AC4-67D0-C522-C98E-EA6114DF74A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070085" y="3665296"/>
              <a:ext cx="315322" cy="315322"/>
            </a:xfrm>
            <a:prstGeom prst="rect">
              <a:avLst/>
            </a:prstGeom>
          </p:spPr>
        </p:pic>
      </p:grpSp>
      <p:grpSp>
        <p:nvGrpSpPr>
          <p:cNvPr id="2" name="Group 1">
            <a:extLst>
              <a:ext uri="{FF2B5EF4-FFF2-40B4-BE49-F238E27FC236}">
                <a16:creationId xmlns:a16="http://schemas.microsoft.com/office/drawing/2014/main" id="{EDB09BFC-305B-EC8E-38A6-0C2A4E92A87A}"/>
              </a:ext>
            </a:extLst>
          </p:cNvPr>
          <p:cNvGrpSpPr/>
          <p:nvPr/>
        </p:nvGrpSpPr>
        <p:grpSpPr>
          <a:xfrm>
            <a:off x="4892210" y="3174133"/>
            <a:ext cx="479959" cy="413758"/>
            <a:chOff x="4896560" y="2292626"/>
            <a:chExt cx="479959" cy="413758"/>
          </a:xfrm>
        </p:grpSpPr>
        <p:sp>
          <p:nvSpPr>
            <p:cNvPr id="22" name="Hexagon 21">
              <a:extLst>
                <a:ext uri="{FF2B5EF4-FFF2-40B4-BE49-F238E27FC236}">
                  <a16:creationId xmlns:a16="http://schemas.microsoft.com/office/drawing/2014/main" id="{0C99C66C-4DFC-7CE1-1165-26DF2FFF50FB}"/>
                </a:ext>
              </a:extLst>
            </p:cNvPr>
            <p:cNvSpPr/>
            <p:nvPr/>
          </p:nvSpPr>
          <p:spPr>
            <a:xfrm>
              <a:off x="4896560" y="2292626"/>
              <a:ext cx="479959" cy="413758"/>
            </a:xfrm>
            <a:prstGeom prst="hexagon">
              <a:avLst/>
            </a:prstGeom>
            <a:solidFill>
              <a:schemeClr val="tx1"/>
            </a:solid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23" name="Graphic 22" descr="Briefcase outline">
              <a:extLst>
                <a:ext uri="{FF2B5EF4-FFF2-40B4-BE49-F238E27FC236}">
                  <a16:creationId xmlns:a16="http://schemas.microsoft.com/office/drawing/2014/main" id="{E5B33C13-F911-343B-804A-133D1386CD4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948351" y="2311053"/>
              <a:ext cx="376375" cy="376375"/>
            </a:xfrm>
            <a:prstGeom prst="rect">
              <a:avLst/>
            </a:prstGeom>
          </p:spPr>
        </p:pic>
      </p:grpSp>
      <p:grpSp>
        <p:nvGrpSpPr>
          <p:cNvPr id="28" name="Group 27">
            <a:extLst>
              <a:ext uri="{FF2B5EF4-FFF2-40B4-BE49-F238E27FC236}">
                <a16:creationId xmlns:a16="http://schemas.microsoft.com/office/drawing/2014/main" id="{0992C13F-9190-BCEA-FD6F-F8903E99C7F1}"/>
              </a:ext>
            </a:extLst>
          </p:cNvPr>
          <p:cNvGrpSpPr/>
          <p:nvPr/>
        </p:nvGrpSpPr>
        <p:grpSpPr>
          <a:xfrm>
            <a:off x="4896560" y="1758734"/>
            <a:ext cx="479959" cy="413758"/>
            <a:chOff x="5064711" y="1729069"/>
            <a:chExt cx="368092" cy="317321"/>
          </a:xfrm>
          <a:solidFill>
            <a:schemeClr val="tx1"/>
          </a:solidFill>
        </p:grpSpPr>
        <p:sp>
          <p:nvSpPr>
            <p:cNvPr id="26" name="Hexagon 25">
              <a:extLst>
                <a:ext uri="{FF2B5EF4-FFF2-40B4-BE49-F238E27FC236}">
                  <a16:creationId xmlns:a16="http://schemas.microsoft.com/office/drawing/2014/main" id="{7F95886A-45C8-CDD1-9E52-49F3F288AF17}"/>
                </a:ext>
              </a:extLst>
            </p:cNvPr>
            <p:cNvSpPr/>
            <p:nvPr/>
          </p:nvSpPr>
          <p:spPr>
            <a:xfrm>
              <a:off x="5064711" y="1729069"/>
              <a:ext cx="368092" cy="317321"/>
            </a:xfrm>
            <a:prstGeom prst="hexagon">
              <a:avLst/>
            </a:prstGeom>
            <a:grp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27" name="Graphic 26" descr="Head with gears outline">
              <a:extLst>
                <a:ext uri="{FF2B5EF4-FFF2-40B4-BE49-F238E27FC236}">
                  <a16:creationId xmlns:a16="http://schemas.microsoft.com/office/drawing/2014/main" id="{CAC30A21-94BC-D9F5-7FE8-F3B3995BFA4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110786" y="1746579"/>
              <a:ext cx="282299" cy="282299"/>
            </a:xfrm>
            <a:prstGeom prst="rect">
              <a:avLst/>
            </a:prstGeom>
          </p:spPr>
        </p:pic>
      </p:grpSp>
      <p:sp>
        <p:nvSpPr>
          <p:cNvPr id="32" name="Right Triangle 31">
            <a:extLst>
              <a:ext uri="{FF2B5EF4-FFF2-40B4-BE49-F238E27FC236}">
                <a16:creationId xmlns:a16="http://schemas.microsoft.com/office/drawing/2014/main" id="{01C313B5-C0A2-FA82-4EB8-F6085C34CEC7}"/>
              </a:ext>
            </a:extLst>
          </p:cNvPr>
          <p:cNvSpPr/>
          <p:nvPr/>
        </p:nvSpPr>
        <p:spPr>
          <a:xfrm>
            <a:off x="4460527" y="5030501"/>
            <a:ext cx="705346" cy="705346"/>
          </a:xfrm>
          <a:prstGeom prst="rtTriangle">
            <a:avLst/>
          </a:prstGeom>
          <a:pattFill prst="pct5">
            <a:fgClr>
              <a:srgbClr val="07E7AC"/>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5" name="Right Triangle 34">
            <a:extLst>
              <a:ext uri="{FF2B5EF4-FFF2-40B4-BE49-F238E27FC236}">
                <a16:creationId xmlns:a16="http://schemas.microsoft.com/office/drawing/2014/main" id="{02EA9364-2770-D1B4-D171-93E4BE2BD6C8}"/>
              </a:ext>
            </a:extLst>
          </p:cNvPr>
          <p:cNvSpPr/>
          <p:nvPr/>
        </p:nvSpPr>
        <p:spPr>
          <a:xfrm rot="10800000">
            <a:off x="10973492" y="695411"/>
            <a:ext cx="705346" cy="705346"/>
          </a:xfrm>
          <a:prstGeom prst="rtTriangle">
            <a:avLst/>
          </a:prstGeom>
          <a:pattFill prst="pct5">
            <a:fgClr>
              <a:srgbClr val="07E7AC"/>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ight Triangle 8">
            <a:extLst>
              <a:ext uri="{FF2B5EF4-FFF2-40B4-BE49-F238E27FC236}">
                <a16:creationId xmlns:a16="http://schemas.microsoft.com/office/drawing/2014/main" id="{479F07D2-7D72-D648-C2C4-7745EC264834}"/>
              </a:ext>
            </a:extLst>
          </p:cNvPr>
          <p:cNvSpPr/>
          <p:nvPr/>
        </p:nvSpPr>
        <p:spPr>
          <a:xfrm>
            <a:off x="4460527" y="5030000"/>
            <a:ext cx="705346" cy="705346"/>
          </a:xfrm>
          <a:prstGeom prst="rtTriangle">
            <a:avLst/>
          </a:prstGeom>
          <a:pattFill prst="pct5">
            <a:fgClr>
              <a:srgbClr val="F2C811"/>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2" name="Right Triangle 11">
            <a:extLst>
              <a:ext uri="{FF2B5EF4-FFF2-40B4-BE49-F238E27FC236}">
                <a16:creationId xmlns:a16="http://schemas.microsoft.com/office/drawing/2014/main" id="{3AAB5A97-9F6A-DE0A-EC66-196F1CFF137B}"/>
              </a:ext>
            </a:extLst>
          </p:cNvPr>
          <p:cNvSpPr/>
          <p:nvPr/>
        </p:nvSpPr>
        <p:spPr>
          <a:xfrm rot="10800000">
            <a:off x="10972925" y="694844"/>
            <a:ext cx="705346" cy="705346"/>
          </a:xfrm>
          <a:prstGeom prst="rtTriangle">
            <a:avLst/>
          </a:prstGeom>
          <a:pattFill prst="pct5">
            <a:fgClr>
              <a:srgbClr val="F2C811"/>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3" name="Picture 2" descr="Beraterprofil_Ulrik Harnisch_quad.png">
            <a:extLst>
              <a:ext uri="{FF2B5EF4-FFF2-40B4-BE49-F238E27FC236}">
                <a16:creationId xmlns:a16="http://schemas.microsoft.com/office/drawing/2014/main" id="{56F6ACE7-08D4-A039-99F8-C63043DD7C70}"/>
              </a:ext>
            </a:extLst>
          </p:cNvPr>
          <p:cNvPicPr>
            <a:picLocks noChangeAspect="1" noChangeArrowheads="1"/>
          </p:cNvPicPr>
          <p:nvPr/>
        </p:nvPicPr>
        <p:blipFill rotWithShape="1">
          <a:blip r:embed="rId12"/>
          <a:srcRect l="920" t="209" r="-4266" b="2589"/>
          <a:stretch/>
        </p:blipFill>
        <p:spPr bwMode="auto">
          <a:xfrm>
            <a:off x="660414" y="1618909"/>
            <a:ext cx="3381363" cy="3179302"/>
          </a:xfrm>
          <a:prstGeom prst="ellipse">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D8C1B677-1B72-EBE7-26A3-167029DEF3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42770" y="5474970"/>
            <a:ext cx="1008380" cy="1028700"/>
          </a:xfrm>
          <a:prstGeom prst="rect">
            <a:avLst/>
          </a:prstGeom>
        </p:spPr>
      </p:pic>
    </p:spTree>
    <p:extLst>
      <p:ext uri="{BB962C8B-B14F-4D97-AF65-F5344CB8AC3E}">
        <p14:creationId xmlns:p14="http://schemas.microsoft.com/office/powerpoint/2010/main" val="2101314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6875E2E-F93B-12C4-7593-2F394EAAF9A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AF2BFB-B12B-48FC-7570-C0B6A14A5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CAF2BFB-B12B-48FC-7570-C0B6A14A5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0399C4-3990-D248-E459-EDA2A09A2E87}"/>
              </a:ext>
            </a:extLst>
          </p:cNvPr>
          <p:cNvSpPr>
            <a:spLocks noGrp="1"/>
          </p:cNvSpPr>
          <p:nvPr>
            <p:ph type="title"/>
          </p:nvPr>
        </p:nvSpPr>
        <p:spPr>
          <a:xfrm>
            <a:off x="1" y="435753"/>
            <a:ext cx="381214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endParaRPr lang="en-US" dirty="0">
              <a:latin typeface="Montserrat" panose="00000500000000000000" pitchFamily="2" charset="0"/>
              <a:ea typeface="Calibri" panose="020F0502020204030204" pitchFamily="34" charset="0"/>
              <a:cs typeface="Calibri" panose="020F0502020204030204" pitchFamily="34" charset="0"/>
            </a:endParaRPr>
          </a:p>
        </p:txBody>
      </p:sp>
      <p:grpSp>
        <p:nvGrpSpPr>
          <p:cNvPr id="30" name="Gruppieren 29">
            <a:extLst>
              <a:ext uri="{FF2B5EF4-FFF2-40B4-BE49-F238E27FC236}">
                <a16:creationId xmlns:a16="http://schemas.microsoft.com/office/drawing/2014/main" id="{1BB5A5EF-AAFE-2CAF-18C8-5D945C2281B1}"/>
              </a:ext>
            </a:extLst>
          </p:cNvPr>
          <p:cNvGrpSpPr/>
          <p:nvPr/>
        </p:nvGrpSpPr>
        <p:grpSpPr>
          <a:xfrm>
            <a:off x="556193" y="1861825"/>
            <a:ext cx="2586568" cy="3366478"/>
            <a:chOff x="556193" y="1861825"/>
            <a:chExt cx="2586568" cy="3366478"/>
          </a:xfrm>
        </p:grpSpPr>
        <p:sp>
          <p:nvSpPr>
            <p:cNvPr id="14" name="object 3">
              <a:extLst>
                <a:ext uri="{FF2B5EF4-FFF2-40B4-BE49-F238E27FC236}">
                  <a16:creationId xmlns:a16="http://schemas.microsoft.com/office/drawing/2014/main" id="{01028AD3-8845-2872-E704-A1102ED13145}"/>
                </a:ext>
              </a:extLst>
            </p:cNvPr>
            <p:cNvSpPr txBox="1"/>
            <p:nvPr/>
          </p:nvSpPr>
          <p:spPr>
            <a:xfrm>
              <a:off x="556193"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Ausgangslage</a:t>
              </a:r>
              <a:endParaRPr sz="2800" baseline="1543" dirty="0">
                <a:solidFill>
                  <a:schemeClr val="tx2"/>
                </a:solidFill>
                <a:latin typeface="Arial"/>
                <a:cs typeface="Arial"/>
              </a:endParaRPr>
            </a:p>
          </p:txBody>
        </p:sp>
        <p:sp>
          <p:nvSpPr>
            <p:cNvPr id="16" name="Rectangle 9">
              <a:extLst>
                <a:ext uri="{FF2B5EF4-FFF2-40B4-BE49-F238E27FC236}">
                  <a16:creationId xmlns:a16="http://schemas.microsoft.com/office/drawing/2014/main" id="{23C77FE5-B2BE-89AA-616A-B26E49BA3B8A}"/>
                </a:ext>
              </a:extLst>
            </p:cNvPr>
            <p:cNvSpPr/>
            <p:nvPr/>
          </p:nvSpPr>
          <p:spPr>
            <a:xfrm>
              <a:off x="556193"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Bestehender Berich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Kommentare separat über Excel-List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Fehleranfällig (</a:t>
              </a:r>
              <a:r>
                <a:rPr kumimoji="0" lang="de-DE" sz="1400" b="0" i="0" u="none" strike="noStrike" kern="1200" cap="none" spc="0" normalizeH="0" baseline="0" noProof="0" dirty="0" err="1">
                  <a:ln>
                    <a:noFill/>
                  </a:ln>
                  <a:solidFill>
                    <a:schemeClr val="bg1">
                      <a:lumMod val="95000"/>
                    </a:schemeClr>
                  </a:solidFill>
                  <a:effectLst/>
                  <a:uLnTx/>
                  <a:uFillTx/>
                  <a:latin typeface="Arial"/>
                  <a:ea typeface="+mn-ea"/>
                  <a:cs typeface="+mn-cs"/>
                </a:rPr>
                <a:t>copy&amp;paste</a:t>
              </a: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Kaum Automatisierung</a:t>
              </a: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grpSp>
        <p:nvGrpSpPr>
          <p:cNvPr id="31" name="Gruppieren 30">
            <a:extLst>
              <a:ext uri="{FF2B5EF4-FFF2-40B4-BE49-F238E27FC236}">
                <a16:creationId xmlns:a16="http://schemas.microsoft.com/office/drawing/2014/main" id="{83DC51A7-F754-AB99-770B-A5B18579BEE0}"/>
              </a:ext>
            </a:extLst>
          </p:cNvPr>
          <p:cNvGrpSpPr/>
          <p:nvPr/>
        </p:nvGrpSpPr>
        <p:grpSpPr>
          <a:xfrm>
            <a:off x="3385627" y="1861825"/>
            <a:ext cx="2589732" cy="3366478"/>
            <a:chOff x="3385627" y="1861825"/>
            <a:chExt cx="2589732" cy="3366478"/>
          </a:xfrm>
        </p:grpSpPr>
        <p:sp>
          <p:nvSpPr>
            <p:cNvPr id="15" name="object 3">
              <a:extLst>
                <a:ext uri="{FF2B5EF4-FFF2-40B4-BE49-F238E27FC236}">
                  <a16:creationId xmlns:a16="http://schemas.microsoft.com/office/drawing/2014/main" id="{9F33FCCF-0570-58EF-62DC-FBB0C4032F2E}"/>
                </a:ext>
              </a:extLst>
            </p:cNvPr>
            <p:cNvSpPr txBox="1"/>
            <p:nvPr/>
          </p:nvSpPr>
          <p:spPr>
            <a:xfrm>
              <a:off x="3388791"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Kommentierung</a:t>
              </a:r>
              <a:endParaRPr sz="2800" baseline="1543" dirty="0">
                <a:solidFill>
                  <a:schemeClr val="tx2"/>
                </a:solidFill>
                <a:latin typeface="Arial"/>
                <a:cs typeface="Arial"/>
              </a:endParaRPr>
            </a:p>
          </p:txBody>
        </p:sp>
        <p:sp>
          <p:nvSpPr>
            <p:cNvPr id="19" name="Rectangle 10">
              <a:extLst>
                <a:ext uri="{FF2B5EF4-FFF2-40B4-BE49-F238E27FC236}">
                  <a16:creationId xmlns:a16="http://schemas.microsoft.com/office/drawing/2014/main" id="{51A6AFA7-BE02-5E82-ED90-52A484CB0642}"/>
                </a:ext>
              </a:extLst>
            </p:cNvPr>
            <p:cNvSpPr/>
            <p:nvPr/>
          </p:nvSpPr>
          <p:spPr>
            <a:xfrm>
              <a:off x="3385627"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Kommentierung im Bericht</a:t>
              </a: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Optimal: Neben Kennzahlen</a:t>
              </a: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Auswahl über </a:t>
              </a:r>
              <a:r>
                <a:rPr lang="de-DE" sz="1400" dirty="0" err="1">
                  <a:solidFill>
                    <a:schemeClr val="bg1">
                      <a:lumMod val="95000"/>
                    </a:schemeClr>
                  </a:solidFill>
                </a:rPr>
                <a:t>Crossfilter</a:t>
              </a:r>
              <a:r>
                <a:rPr lang="de-DE" sz="1400" dirty="0">
                  <a:solidFill>
                    <a:schemeClr val="bg1">
                      <a:lumMod val="95000"/>
                    </a:schemeClr>
                  </a:solidFill>
                </a:rPr>
                <a:t> oder </a:t>
              </a:r>
              <a:r>
                <a:rPr lang="de-DE" sz="1400" dirty="0" err="1">
                  <a:solidFill>
                    <a:schemeClr val="bg1">
                      <a:lumMod val="95000"/>
                    </a:schemeClr>
                  </a:solidFill>
                </a:rPr>
                <a:t>Slicer</a:t>
              </a:r>
              <a:endParaRPr lang="de-DE" sz="1400" dirty="0">
                <a:solidFill>
                  <a:schemeClr val="bg1">
                    <a:lumMod val="95000"/>
                  </a:schemeClr>
                </a:solidFill>
              </a:endParaRP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Kein 3rd-Party-Visual</a:t>
              </a:r>
              <a:endParaRPr lang="en-US" sz="1400" dirty="0">
                <a:solidFill>
                  <a:schemeClr val="bg1">
                    <a:lumMod val="95000"/>
                  </a:schemeClr>
                </a:solidFill>
              </a:endParaRPr>
            </a:p>
          </p:txBody>
        </p:sp>
      </p:grpSp>
      <p:grpSp>
        <p:nvGrpSpPr>
          <p:cNvPr id="32" name="Gruppieren 31">
            <a:extLst>
              <a:ext uri="{FF2B5EF4-FFF2-40B4-BE49-F238E27FC236}">
                <a16:creationId xmlns:a16="http://schemas.microsoft.com/office/drawing/2014/main" id="{1FFC6FD1-6777-FCD3-8FE1-8644460A3B0F}"/>
              </a:ext>
            </a:extLst>
          </p:cNvPr>
          <p:cNvGrpSpPr/>
          <p:nvPr/>
        </p:nvGrpSpPr>
        <p:grpSpPr>
          <a:xfrm>
            <a:off x="6218224" y="1861825"/>
            <a:ext cx="2586568" cy="3366478"/>
            <a:chOff x="6218224" y="1861825"/>
            <a:chExt cx="2586568" cy="3366478"/>
          </a:xfrm>
        </p:grpSpPr>
        <p:sp>
          <p:nvSpPr>
            <p:cNvPr id="20" name="object 3">
              <a:extLst>
                <a:ext uri="{FF2B5EF4-FFF2-40B4-BE49-F238E27FC236}">
                  <a16:creationId xmlns:a16="http://schemas.microsoft.com/office/drawing/2014/main" id="{ABCB9D70-D3F6-85C6-7CC8-20C3E08B0B4C}"/>
                </a:ext>
              </a:extLst>
            </p:cNvPr>
            <p:cNvSpPr txBox="1"/>
            <p:nvPr/>
          </p:nvSpPr>
          <p:spPr>
            <a:xfrm>
              <a:off x="6218224"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Ablage und Anzeige</a:t>
              </a:r>
              <a:endParaRPr sz="2800" baseline="1543" dirty="0">
                <a:solidFill>
                  <a:schemeClr val="tx2"/>
                </a:solidFill>
                <a:latin typeface="Arial"/>
                <a:cs typeface="Arial"/>
              </a:endParaRPr>
            </a:p>
          </p:txBody>
        </p:sp>
        <p:sp>
          <p:nvSpPr>
            <p:cNvPr id="23" name="Rectangle 3">
              <a:extLst>
                <a:ext uri="{FF2B5EF4-FFF2-40B4-BE49-F238E27FC236}">
                  <a16:creationId xmlns:a16="http://schemas.microsoft.com/office/drawing/2014/main" id="{9DA549D2-0164-B8DC-1A08-F699D101C4B3}"/>
                </a:ext>
              </a:extLst>
            </p:cNvPr>
            <p:cNvSpPr/>
            <p:nvPr/>
          </p:nvSpPr>
          <p:spPr>
            <a:xfrm>
              <a:off x="6218224"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chemeClr val="bg1">
                      <a:lumMod val="95000"/>
                    </a:schemeClr>
                  </a:solidFill>
                  <a:effectLst/>
                  <a:uLnTx/>
                  <a:uFillTx/>
                  <a:latin typeface="Arial"/>
                  <a:ea typeface="+mn-ea"/>
                  <a:cs typeface="+mn-cs"/>
                </a:rPr>
                <a:t>Kostenlose</a:t>
              </a:r>
              <a:r>
                <a:rPr lang="en-US" sz="1400" dirty="0">
                  <a:solidFill>
                    <a:schemeClr val="bg1">
                      <a:lumMod val="95000"/>
                    </a:schemeClr>
                  </a:solidFill>
                  <a:latin typeface="Arial"/>
                </a:rPr>
                <a:t>r Connector</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err="1">
                  <a:solidFill>
                    <a:schemeClr val="bg1">
                      <a:lumMod val="95000"/>
                    </a:schemeClr>
                  </a:solidFill>
                  <a:latin typeface="Arial"/>
                </a:rPr>
                <a:t>Versionierung</a:t>
              </a: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a:solidFill>
                    <a:schemeClr val="bg1">
                      <a:lumMod val="95000"/>
                    </a:schemeClr>
                  </a:solidFill>
                  <a:latin typeface="Arial"/>
                </a:rPr>
                <a:t>Neue </a:t>
              </a:r>
              <a:r>
                <a:rPr lang="en-US" sz="1400" dirty="0" err="1">
                  <a:solidFill>
                    <a:schemeClr val="bg1">
                      <a:lumMod val="95000"/>
                    </a:schemeClr>
                  </a:solidFill>
                  <a:latin typeface="Arial"/>
                </a:rPr>
                <a:t>Kommentare</a:t>
              </a:r>
              <a:r>
                <a:rPr lang="en-US" sz="1400" dirty="0">
                  <a:solidFill>
                    <a:schemeClr val="bg1">
                      <a:lumMod val="95000"/>
                    </a:schemeClr>
                  </a:solidFill>
                  <a:latin typeface="Arial"/>
                </a:rPr>
                <a:t> </a:t>
              </a:r>
              <a:r>
                <a:rPr lang="en-US" sz="1400" dirty="0" err="1">
                  <a:solidFill>
                    <a:schemeClr val="bg1">
                      <a:lumMod val="95000"/>
                    </a:schemeClr>
                  </a:solidFill>
                  <a:latin typeface="Arial"/>
                </a:rPr>
                <a:t>lösen</a:t>
              </a:r>
              <a:r>
                <a:rPr lang="en-US" sz="1400" dirty="0">
                  <a:solidFill>
                    <a:schemeClr val="bg1">
                      <a:lumMod val="95000"/>
                    </a:schemeClr>
                  </a:solidFill>
                  <a:latin typeface="Arial"/>
                </a:rPr>
                <a:t> </a:t>
              </a:r>
              <a:r>
                <a:rPr lang="en-US" sz="1400" dirty="0" err="1">
                  <a:solidFill>
                    <a:schemeClr val="bg1">
                      <a:lumMod val="95000"/>
                    </a:schemeClr>
                  </a:solidFill>
                  <a:latin typeface="Arial"/>
                </a:rPr>
                <a:t>Aktualisierung</a:t>
              </a:r>
              <a:r>
                <a:rPr lang="en-US" sz="1400" dirty="0">
                  <a:solidFill>
                    <a:schemeClr val="bg1">
                      <a:lumMod val="95000"/>
                    </a:schemeClr>
                  </a:solidFill>
                  <a:latin typeface="Arial"/>
                </a:rPr>
                <a:t> </a:t>
              </a:r>
              <a:r>
                <a:rPr lang="en-US" sz="1400" dirty="0" err="1">
                  <a:solidFill>
                    <a:schemeClr val="bg1">
                      <a:lumMod val="95000"/>
                    </a:schemeClr>
                  </a:solidFill>
                  <a:latin typeface="Arial"/>
                </a:rPr>
                <a:t>aus</a:t>
              </a: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cxnSp>
        <p:nvCxnSpPr>
          <p:cNvPr id="24" name="Straight Connector 22">
            <a:extLst>
              <a:ext uri="{FF2B5EF4-FFF2-40B4-BE49-F238E27FC236}">
                <a16:creationId xmlns:a16="http://schemas.microsoft.com/office/drawing/2014/main" id="{E14E1F57-D1B2-3271-98C2-90ECB51998F5}"/>
              </a:ext>
            </a:extLst>
          </p:cNvPr>
          <p:cNvCxnSpPr>
            <a:cxnSpLocks/>
          </p:cNvCxnSpPr>
          <p:nvPr/>
        </p:nvCxnSpPr>
        <p:spPr>
          <a:xfrm>
            <a:off x="3264194"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cxnSp>
        <p:nvCxnSpPr>
          <p:cNvPr id="26" name="Straight Connector 23">
            <a:extLst>
              <a:ext uri="{FF2B5EF4-FFF2-40B4-BE49-F238E27FC236}">
                <a16:creationId xmlns:a16="http://schemas.microsoft.com/office/drawing/2014/main" id="{D1888953-F6B2-F69F-954B-B44260C10D94}"/>
              </a:ext>
            </a:extLst>
          </p:cNvPr>
          <p:cNvCxnSpPr>
            <a:cxnSpLocks/>
          </p:cNvCxnSpPr>
          <p:nvPr/>
        </p:nvCxnSpPr>
        <p:spPr>
          <a:xfrm>
            <a:off x="6095210"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cxnSp>
        <p:nvCxnSpPr>
          <p:cNvPr id="27" name="Straight Connector 28">
            <a:extLst>
              <a:ext uri="{FF2B5EF4-FFF2-40B4-BE49-F238E27FC236}">
                <a16:creationId xmlns:a16="http://schemas.microsoft.com/office/drawing/2014/main" id="{064A8615-3132-3443-B551-2DF0C8669522}"/>
              </a:ext>
            </a:extLst>
          </p:cNvPr>
          <p:cNvCxnSpPr>
            <a:cxnSpLocks/>
          </p:cNvCxnSpPr>
          <p:nvPr/>
        </p:nvCxnSpPr>
        <p:spPr>
          <a:xfrm>
            <a:off x="8922149"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grpSp>
        <p:nvGrpSpPr>
          <p:cNvPr id="33" name="Gruppieren 32">
            <a:extLst>
              <a:ext uri="{FF2B5EF4-FFF2-40B4-BE49-F238E27FC236}">
                <a16:creationId xmlns:a16="http://schemas.microsoft.com/office/drawing/2014/main" id="{8645BA83-BF27-8CB3-093C-92F0D88EAC8D}"/>
              </a:ext>
            </a:extLst>
          </p:cNvPr>
          <p:cNvGrpSpPr/>
          <p:nvPr/>
        </p:nvGrpSpPr>
        <p:grpSpPr>
          <a:xfrm>
            <a:off x="9045163" y="1861825"/>
            <a:ext cx="2586568" cy="3366478"/>
            <a:chOff x="9045163" y="1861825"/>
            <a:chExt cx="2586568" cy="3366478"/>
          </a:xfrm>
        </p:grpSpPr>
        <p:sp>
          <p:nvSpPr>
            <p:cNvPr id="28" name="object 3">
              <a:extLst>
                <a:ext uri="{FF2B5EF4-FFF2-40B4-BE49-F238E27FC236}">
                  <a16:creationId xmlns:a16="http://schemas.microsoft.com/office/drawing/2014/main" id="{EF895E2E-A331-5786-9D20-C3DBC62BB1D2}"/>
                </a:ext>
              </a:extLst>
            </p:cNvPr>
            <p:cNvSpPr txBox="1"/>
            <p:nvPr/>
          </p:nvSpPr>
          <p:spPr>
            <a:xfrm>
              <a:off x="9045163"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Benachrichtigung</a:t>
              </a:r>
              <a:endParaRPr sz="2800" baseline="1543" dirty="0">
                <a:solidFill>
                  <a:schemeClr val="tx2"/>
                </a:solidFill>
                <a:latin typeface="Arial"/>
                <a:cs typeface="Arial"/>
              </a:endParaRPr>
            </a:p>
          </p:txBody>
        </p:sp>
        <p:sp>
          <p:nvSpPr>
            <p:cNvPr id="29" name="Rectangle 32">
              <a:extLst>
                <a:ext uri="{FF2B5EF4-FFF2-40B4-BE49-F238E27FC236}">
                  <a16:creationId xmlns:a16="http://schemas.microsoft.com/office/drawing/2014/main" id="{3E089937-FC19-6C0B-BDD5-E8A297EBC78E}"/>
                </a:ext>
              </a:extLst>
            </p:cNvPr>
            <p:cNvSpPr/>
            <p:nvPr/>
          </p:nvSpPr>
          <p:spPr>
            <a:xfrm>
              <a:off x="9045163"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Bei neuen Einträg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Bei Änderung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Versand von PDF-Dokument)</a:t>
              </a:r>
              <a:endParaRPr kumimoji="0" lang="en-US"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spTree>
    <p:extLst>
      <p:ext uri="{BB962C8B-B14F-4D97-AF65-F5344CB8AC3E}">
        <p14:creationId xmlns:p14="http://schemas.microsoft.com/office/powerpoint/2010/main" val="1567023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25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4E240F3-0B55-59AE-6499-730D09899FA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F2992F-51AC-63C2-5FC3-3D29E4416F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34F2992F-51AC-63C2-5FC3-3D29E4416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Ein Bild, das Menschliches Gesicht, Person, Vorderkopf, Augenbraue enthält.&#10;&#10;Automatisch generierte Beschreibung">
            <a:extLst>
              <a:ext uri="{FF2B5EF4-FFF2-40B4-BE49-F238E27FC236}">
                <a16:creationId xmlns:a16="http://schemas.microsoft.com/office/drawing/2014/main" id="{8E25CCAE-BEFC-EAAC-3AAB-10D1C0D89A8F}"/>
              </a:ext>
            </a:extLst>
          </p:cNvPr>
          <p:cNvPicPr>
            <a:picLocks noChangeAspect="1"/>
          </p:cNvPicPr>
          <p:nvPr/>
        </p:nvPicPr>
        <p:blipFill>
          <a:blip r:embed="rId5"/>
          <a:stretch>
            <a:fillRect/>
          </a:stretch>
        </p:blipFill>
        <p:spPr>
          <a:xfrm>
            <a:off x="3953436" y="0"/>
            <a:ext cx="8086164" cy="6909160"/>
          </a:xfrm>
          <a:prstGeom prst="rect">
            <a:avLst/>
          </a:prstGeom>
        </p:spPr>
      </p:pic>
      <p:sp>
        <p:nvSpPr>
          <p:cNvPr id="2" name="Title 1">
            <a:extLst>
              <a:ext uri="{FF2B5EF4-FFF2-40B4-BE49-F238E27FC236}">
                <a16:creationId xmlns:a16="http://schemas.microsoft.com/office/drawing/2014/main" id="{E15FCE9D-21FF-E50C-7173-8B356BC4A6CB}"/>
              </a:ext>
            </a:extLst>
          </p:cNvPr>
          <p:cNvSpPr>
            <a:spLocks noGrp="1"/>
          </p:cNvSpPr>
          <p:nvPr>
            <p:ph type="title"/>
          </p:nvPr>
        </p:nvSpPr>
        <p:spPr>
          <a:xfrm>
            <a:off x="1" y="435753"/>
            <a:ext cx="381214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endParaRPr lang="en-US" dirty="0">
              <a:latin typeface="Montserrat" panose="00000500000000000000" pitchFamily="2" charset="0"/>
              <a:ea typeface="Calibri" panose="020F0502020204030204" pitchFamily="34" charset="0"/>
              <a:cs typeface="Calibri" panose="020F0502020204030204" pitchFamily="34" charset="0"/>
            </a:endParaRPr>
          </a:p>
        </p:txBody>
      </p:sp>
      <p:sp>
        <p:nvSpPr>
          <p:cNvPr id="6" name="Rechteck 5">
            <a:extLst>
              <a:ext uri="{FF2B5EF4-FFF2-40B4-BE49-F238E27FC236}">
                <a16:creationId xmlns:a16="http://schemas.microsoft.com/office/drawing/2014/main" id="{40CCA58A-341E-7AF6-FC5E-25923A466965}"/>
              </a:ext>
            </a:extLst>
          </p:cNvPr>
          <p:cNvSpPr/>
          <p:nvPr/>
        </p:nvSpPr>
        <p:spPr>
          <a:xfrm>
            <a:off x="4168589" y="304801"/>
            <a:ext cx="3693459"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Power BI kann doch keine Daten irgendwo hinschreiben</a:t>
            </a:r>
          </a:p>
        </p:txBody>
      </p:sp>
      <p:sp>
        <p:nvSpPr>
          <p:cNvPr id="7" name="Rechteck 6">
            <a:extLst>
              <a:ext uri="{FF2B5EF4-FFF2-40B4-BE49-F238E27FC236}">
                <a16:creationId xmlns:a16="http://schemas.microsoft.com/office/drawing/2014/main" id="{BC4E6CC4-1E85-1A45-15FD-B0C71B178219}"/>
              </a:ext>
            </a:extLst>
          </p:cNvPr>
          <p:cNvSpPr/>
          <p:nvPr/>
        </p:nvSpPr>
        <p:spPr>
          <a:xfrm>
            <a:off x="8247530" y="304801"/>
            <a:ext cx="3693459"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Power Apps kann es und es gibt ein Visual für Power BI?</a:t>
            </a:r>
          </a:p>
        </p:txBody>
      </p:sp>
    </p:spTree>
    <p:extLst>
      <p:ext uri="{BB962C8B-B14F-4D97-AF65-F5344CB8AC3E}">
        <p14:creationId xmlns:p14="http://schemas.microsoft.com/office/powerpoint/2010/main" val="3295283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A22CA4B-6983-3C5D-3417-ABB56D6D8F7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ECF42C-7079-8382-94D9-D914982F85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FECF42C-7079-8382-94D9-D914982F8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EDF02E-D9E6-204D-57D2-A165C3C79872}"/>
              </a:ext>
            </a:extLst>
          </p:cNvPr>
          <p:cNvSpPr>
            <a:spLocks noGrp="1"/>
          </p:cNvSpPr>
          <p:nvPr>
            <p:ph type="title"/>
          </p:nvPr>
        </p:nvSpPr>
        <p:spPr>
          <a:xfrm>
            <a:off x="1" y="435753"/>
            <a:ext cx="736760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r>
              <a:rPr lang="en-US" dirty="0">
                <a:latin typeface="Montserrat" panose="00000500000000000000" pitchFamily="2" charset="0"/>
                <a:ea typeface="Calibri" panose="020F0502020204030204" pitchFamily="34" charset="0"/>
                <a:cs typeface="Calibri" panose="020F0502020204030204" pitchFamily="34" charset="0"/>
              </a:rPr>
              <a:t> – Grobe </a:t>
            </a:r>
            <a:r>
              <a:rPr lang="en-US" dirty="0" err="1">
                <a:latin typeface="Montserrat" panose="00000500000000000000" pitchFamily="2" charset="0"/>
                <a:ea typeface="Calibri" panose="020F0502020204030204" pitchFamily="34" charset="0"/>
                <a:cs typeface="Calibri" panose="020F0502020204030204" pitchFamily="34" charset="0"/>
              </a:rPr>
              <a:t>Planung</a:t>
            </a:r>
            <a:endParaRPr lang="en-US" dirty="0">
              <a:latin typeface="Montserrat" panose="00000500000000000000" pitchFamily="2" charset="0"/>
              <a:ea typeface="Calibri" panose="020F0502020204030204" pitchFamily="34" charset="0"/>
              <a:cs typeface="Calibri" panose="020F0502020204030204" pitchFamily="34" charset="0"/>
            </a:endParaRPr>
          </a:p>
        </p:txBody>
      </p:sp>
      <p:grpSp>
        <p:nvGrpSpPr>
          <p:cNvPr id="9" name="Gruppieren 8">
            <a:extLst>
              <a:ext uri="{FF2B5EF4-FFF2-40B4-BE49-F238E27FC236}">
                <a16:creationId xmlns:a16="http://schemas.microsoft.com/office/drawing/2014/main" id="{49D544AE-FE99-8ED3-5EEC-88DAE77DFEF6}"/>
              </a:ext>
            </a:extLst>
          </p:cNvPr>
          <p:cNvGrpSpPr/>
          <p:nvPr/>
        </p:nvGrpSpPr>
        <p:grpSpPr>
          <a:xfrm>
            <a:off x="1706675" y="1452257"/>
            <a:ext cx="4121591" cy="2088678"/>
            <a:chOff x="1706675" y="1452257"/>
            <a:chExt cx="4121591" cy="2088678"/>
          </a:xfrm>
        </p:grpSpPr>
        <p:pic>
          <p:nvPicPr>
            <p:cNvPr id="12" name="Graphic 11" descr="Single gear outline">
              <a:extLst>
                <a:ext uri="{FF2B5EF4-FFF2-40B4-BE49-F238E27FC236}">
                  <a16:creationId xmlns:a16="http://schemas.microsoft.com/office/drawing/2014/main" id="{5032998B-06E6-C957-37E6-D52820009C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7514" y="1452257"/>
              <a:ext cx="1900752" cy="1900752"/>
            </a:xfrm>
            <a:prstGeom prst="rect">
              <a:avLst/>
            </a:prstGeom>
          </p:spPr>
        </p:pic>
        <p:sp>
          <p:nvSpPr>
            <p:cNvPr id="21" name="Rectangle 20">
              <a:extLst>
                <a:ext uri="{FF2B5EF4-FFF2-40B4-BE49-F238E27FC236}">
                  <a16:creationId xmlns:a16="http://schemas.microsoft.com/office/drawing/2014/main" id="{D052AF15-1418-7D15-D06F-5E0D39820F97}"/>
                </a:ext>
              </a:extLst>
            </p:cNvPr>
            <p:cNvSpPr/>
            <p:nvPr/>
          </p:nvSpPr>
          <p:spPr>
            <a:xfrm>
              <a:off x="1706675" y="1727139"/>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tx2"/>
                  </a:solidFill>
                  <a:latin typeface="Arial"/>
                  <a:cs typeface="Arial"/>
                </a:rPr>
                <a:t>Power BI</a:t>
              </a:r>
              <a:endParaRPr kumimoji="0" lang="en-US" sz="1400" b="0" i="0" u="none" strike="noStrike" kern="1200" cap="none" spc="0" normalizeH="0" baseline="0" dirty="0">
                <a:ln>
                  <a:noFill/>
                </a:ln>
                <a:solidFill>
                  <a:schemeClr val="tx2"/>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ennzahle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werde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ngezeig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mmentarfunktio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gewünsch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Vorgabe</a:t>
              </a:r>
              <a:r>
                <a:rPr lang="en-US" sz="1200" dirty="0">
                  <a:solidFill>
                    <a:schemeClr val="bg1">
                      <a:lumMod val="85000"/>
                    </a:schemeClr>
                  </a:solidFill>
                  <a:latin typeface="Arial"/>
                </a:rPr>
                <a:t>: Kein 3</a:t>
              </a:r>
              <a:r>
                <a:rPr lang="en-US" sz="1200" baseline="30000" dirty="0">
                  <a:solidFill>
                    <a:schemeClr val="bg1">
                      <a:lumMod val="85000"/>
                    </a:schemeClr>
                  </a:solidFill>
                  <a:latin typeface="Arial"/>
                </a:rPr>
                <a:t>rd</a:t>
              </a:r>
              <a:r>
                <a:rPr lang="en-US" sz="1200" dirty="0">
                  <a:solidFill>
                    <a:schemeClr val="bg1">
                      <a:lumMod val="85000"/>
                    </a:schemeClr>
                  </a:solidFill>
                  <a:latin typeface="Arial"/>
                </a:rPr>
                <a:t>-Party-Visual</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dirty="0">
                <a:ln>
                  <a:noFill/>
                </a:ln>
                <a:solidFill>
                  <a:prstClr val="black"/>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1" name="Gruppieren 10">
            <a:extLst>
              <a:ext uri="{FF2B5EF4-FFF2-40B4-BE49-F238E27FC236}">
                <a16:creationId xmlns:a16="http://schemas.microsoft.com/office/drawing/2014/main" id="{6FAE6873-224A-B906-7AF4-8E373FD90337}"/>
              </a:ext>
            </a:extLst>
          </p:cNvPr>
          <p:cNvGrpSpPr/>
          <p:nvPr/>
        </p:nvGrpSpPr>
        <p:grpSpPr>
          <a:xfrm>
            <a:off x="2128379" y="3238084"/>
            <a:ext cx="4493938" cy="2274575"/>
            <a:chOff x="2128379" y="3238084"/>
            <a:chExt cx="4493938" cy="2274575"/>
          </a:xfrm>
        </p:grpSpPr>
        <p:pic>
          <p:nvPicPr>
            <p:cNvPr id="18" name="Graphic 17" descr="Single gear outline">
              <a:extLst>
                <a:ext uri="{FF2B5EF4-FFF2-40B4-BE49-F238E27FC236}">
                  <a16:creationId xmlns:a16="http://schemas.microsoft.com/office/drawing/2014/main" id="{A1910E2E-4283-66B4-0672-675F6F0CD2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21565" y="3238084"/>
              <a:ext cx="1900752" cy="1900752"/>
            </a:xfrm>
            <a:prstGeom prst="rect">
              <a:avLst/>
            </a:prstGeom>
          </p:spPr>
        </p:pic>
        <p:sp>
          <p:nvSpPr>
            <p:cNvPr id="22" name="Rectangle 21">
              <a:extLst>
                <a:ext uri="{FF2B5EF4-FFF2-40B4-BE49-F238E27FC236}">
                  <a16:creationId xmlns:a16="http://schemas.microsoft.com/office/drawing/2014/main" id="{952227EE-AA0E-4BC4-632F-25D4B519F64D}"/>
                </a:ext>
              </a:extLst>
            </p:cNvPr>
            <p:cNvSpPr/>
            <p:nvPr/>
          </p:nvSpPr>
          <p:spPr>
            <a:xfrm>
              <a:off x="2128379" y="3698863"/>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4"/>
                  </a:solidFill>
                  <a:latin typeface="Arial"/>
                  <a:cs typeface="Arial"/>
                </a:rPr>
                <a:t>Power Automate</a:t>
              </a:r>
              <a:endParaRPr kumimoji="0" lang="en-US" sz="1400" b="0" i="0" u="none" strike="noStrike" kern="1200" cap="none" spc="0" normalizeH="0" baseline="0" dirty="0">
                <a:ln>
                  <a:noFill/>
                </a:ln>
                <a:solidFill>
                  <a:schemeClr val="accent4"/>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utomatisch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ktualisierung</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der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Daten</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E-Mail-</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Benachrichtigung</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a:solidFill>
                    <a:schemeClr val="bg1">
                      <a:lumMod val="85000"/>
                    </a:schemeClr>
                  </a:solidFill>
                  <a:latin typeface="Arial"/>
                </a:rPr>
                <a:t>(Export des Reports in PDF und </a:t>
              </a:r>
              <a:r>
                <a:rPr lang="en-US" sz="1200" dirty="0" err="1">
                  <a:solidFill>
                    <a:schemeClr val="bg1">
                      <a:lumMod val="85000"/>
                    </a:schemeClr>
                  </a:solidFill>
                  <a:latin typeface="Arial"/>
                </a:rPr>
                <a:t>Versand</a:t>
              </a:r>
              <a:r>
                <a:rPr lang="en-US" sz="1200" dirty="0">
                  <a:solidFill>
                    <a:schemeClr val="bg1">
                      <a:lumMod val="85000"/>
                    </a:schemeClr>
                  </a:solidFill>
                  <a:latin typeface="Arial"/>
                </a:rPr>
                <a: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p:txBody>
        </p:sp>
      </p:grpSp>
      <p:grpSp>
        <p:nvGrpSpPr>
          <p:cNvPr id="10" name="Gruppieren 9">
            <a:extLst>
              <a:ext uri="{FF2B5EF4-FFF2-40B4-BE49-F238E27FC236}">
                <a16:creationId xmlns:a16="http://schemas.microsoft.com/office/drawing/2014/main" id="{C41261A7-5AB2-95FF-D5FD-31ADA92384F5}"/>
              </a:ext>
            </a:extLst>
          </p:cNvPr>
          <p:cNvGrpSpPr/>
          <p:nvPr/>
        </p:nvGrpSpPr>
        <p:grpSpPr>
          <a:xfrm>
            <a:off x="5245475" y="2331186"/>
            <a:ext cx="4872300" cy="1813796"/>
            <a:chOff x="5245475" y="2331186"/>
            <a:chExt cx="4872300" cy="1813796"/>
          </a:xfrm>
        </p:grpSpPr>
        <p:pic>
          <p:nvPicPr>
            <p:cNvPr id="17" name="Graphic 16" descr="Single gear with solid fill">
              <a:extLst>
                <a:ext uri="{FF2B5EF4-FFF2-40B4-BE49-F238E27FC236}">
                  <a16:creationId xmlns:a16="http://schemas.microsoft.com/office/drawing/2014/main" id="{68EFAA04-8E68-1124-1312-9DDF177122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45475" y="2365363"/>
              <a:ext cx="1333500" cy="1333500"/>
            </a:xfrm>
            <a:prstGeom prst="rect">
              <a:avLst/>
            </a:prstGeom>
          </p:spPr>
        </p:pic>
        <p:sp>
          <p:nvSpPr>
            <p:cNvPr id="25" name="Rectangle 24">
              <a:extLst>
                <a:ext uri="{FF2B5EF4-FFF2-40B4-BE49-F238E27FC236}">
                  <a16:creationId xmlns:a16="http://schemas.microsoft.com/office/drawing/2014/main" id="{CDCFE012-80CF-DF93-C485-B7C01B0EB776}"/>
                </a:ext>
              </a:extLst>
            </p:cNvPr>
            <p:cNvSpPr/>
            <p:nvPr/>
          </p:nvSpPr>
          <p:spPr>
            <a:xfrm>
              <a:off x="6578975" y="2331186"/>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5">
                      <a:lumMod val="75000"/>
                    </a:schemeClr>
                  </a:solidFill>
                  <a:latin typeface="Arial"/>
                  <a:cs typeface="Arial"/>
                </a:rPr>
                <a:t>Power App</a:t>
              </a:r>
              <a:endParaRPr kumimoji="0" lang="en-US" sz="1400" b="0" i="0" u="none" strike="noStrike" kern="1200" cap="none" spc="0" normalizeH="0" baseline="0" dirty="0">
                <a:ln>
                  <a:noFill/>
                </a:ln>
                <a:solidFill>
                  <a:schemeClr val="accent5">
                    <a:lumMod val="7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mmentar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entgegennehmen</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stenlos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Speicherung</a:t>
              </a:r>
              <a:endParaRPr lang="en-US" sz="1200" dirty="0">
                <a:solidFill>
                  <a:schemeClr val="bg1">
                    <a:lumMod val="85000"/>
                  </a:schemeClr>
                </a:solidFill>
                <a:latin typeface="Arial"/>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Einfache</a:t>
              </a:r>
              <a:r>
                <a:rPr lang="en-US" sz="1200" dirty="0">
                  <a:solidFill>
                    <a:schemeClr val="bg1">
                      <a:lumMod val="85000"/>
                    </a:schemeClr>
                  </a:solidFill>
                  <a:latin typeface="Arial"/>
                </a:rPr>
                <a:t> </a:t>
              </a:r>
              <a:r>
                <a:rPr lang="en-US" sz="1200" dirty="0" err="1">
                  <a:solidFill>
                    <a:schemeClr val="bg1">
                      <a:lumMod val="85000"/>
                    </a:schemeClr>
                  </a:solidFill>
                  <a:latin typeface="Arial"/>
                </a:rPr>
                <a:t>Erstellung</a:t>
              </a:r>
              <a:r>
                <a:rPr lang="en-US" sz="1200" dirty="0">
                  <a:solidFill>
                    <a:schemeClr val="bg1">
                      <a:lumMod val="85000"/>
                    </a:schemeClr>
                  </a:solidFill>
                  <a:latin typeface="Arial"/>
                </a:rPr>
                <a:t> und </a:t>
              </a:r>
              <a:r>
                <a:rPr lang="en-US" sz="1200" dirty="0" err="1">
                  <a:solidFill>
                    <a:schemeClr val="bg1">
                      <a:lumMod val="85000"/>
                    </a:schemeClr>
                  </a:solidFill>
                  <a:latin typeface="Arial"/>
                </a:rPr>
                <a:t>Wartung</a:t>
              </a:r>
              <a:endParaRPr lang="en-US" sz="1200" dirty="0">
                <a:solidFill>
                  <a:schemeClr val="bg1">
                    <a:lumMod val="85000"/>
                  </a:schemeClr>
                </a:solidFill>
                <a:latin typeface="Arial"/>
              </a:endParaRPr>
            </a:p>
          </p:txBody>
        </p:sp>
      </p:grpSp>
      <p:grpSp>
        <p:nvGrpSpPr>
          <p:cNvPr id="13" name="Gruppieren 12">
            <a:extLst>
              <a:ext uri="{FF2B5EF4-FFF2-40B4-BE49-F238E27FC236}">
                <a16:creationId xmlns:a16="http://schemas.microsoft.com/office/drawing/2014/main" id="{1BC40106-A186-601B-B3C4-171A9972B411}"/>
              </a:ext>
            </a:extLst>
          </p:cNvPr>
          <p:cNvGrpSpPr/>
          <p:nvPr/>
        </p:nvGrpSpPr>
        <p:grpSpPr>
          <a:xfrm>
            <a:off x="6045540" y="4181187"/>
            <a:ext cx="4872300" cy="2273288"/>
            <a:chOff x="6045540" y="4181187"/>
            <a:chExt cx="4872300" cy="2273288"/>
          </a:xfrm>
        </p:grpSpPr>
        <p:pic>
          <p:nvPicPr>
            <p:cNvPr id="4" name="Graphic 16" descr="Single gear with solid fill">
              <a:extLst>
                <a:ext uri="{FF2B5EF4-FFF2-40B4-BE49-F238E27FC236}">
                  <a16:creationId xmlns:a16="http://schemas.microsoft.com/office/drawing/2014/main" id="{798FE109-E49E-749E-D1F3-040BD64B61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45540" y="4181187"/>
              <a:ext cx="1333500" cy="1333500"/>
            </a:xfrm>
            <a:prstGeom prst="rect">
              <a:avLst/>
            </a:prstGeom>
          </p:spPr>
        </p:pic>
        <p:sp>
          <p:nvSpPr>
            <p:cNvPr id="6" name="Rectangle 24">
              <a:extLst>
                <a:ext uri="{FF2B5EF4-FFF2-40B4-BE49-F238E27FC236}">
                  <a16:creationId xmlns:a16="http://schemas.microsoft.com/office/drawing/2014/main" id="{EB6ABC1B-79EB-3465-C6D3-86D4E381D7FE}"/>
                </a:ext>
              </a:extLst>
            </p:cNvPr>
            <p:cNvSpPr/>
            <p:nvPr/>
          </p:nvSpPr>
          <p:spPr>
            <a:xfrm>
              <a:off x="7379040" y="4640679"/>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1">
                      <a:lumMod val="75000"/>
                    </a:schemeClr>
                  </a:solidFill>
                  <a:latin typeface="Arial"/>
                  <a:cs typeface="Arial"/>
                </a:rPr>
                <a:t>SharePoint</a:t>
              </a:r>
              <a:endParaRPr kumimoji="0" lang="en-US" sz="1400" b="0" i="0" u="none" strike="noStrike" kern="1200" cap="none" spc="0" normalizeH="0" baseline="0" dirty="0">
                <a:ln>
                  <a:noFill/>
                </a:ln>
                <a:solidFill>
                  <a:schemeClr val="accent1">
                    <a:lumMod val="7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stenlos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Speicherung</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Ablage</a:t>
              </a:r>
              <a:r>
                <a:rPr lang="en-US" sz="1200" dirty="0">
                  <a:solidFill>
                    <a:schemeClr val="bg1">
                      <a:lumMod val="85000"/>
                    </a:schemeClr>
                  </a:solidFill>
                  <a:latin typeface="Arial"/>
                </a:rPr>
                <a:t> in </a:t>
              </a:r>
              <a:r>
                <a:rPr lang="en-US" sz="1200" dirty="0" err="1">
                  <a:solidFill>
                    <a:schemeClr val="bg1">
                      <a:lumMod val="85000"/>
                    </a:schemeClr>
                  </a:solidFill>
                  <a:latin typeface="Arial"/>
                </a:rPr>
                <a:t>Liste</a:t>
              </a:r>
              <a:endParaRPr lang="en-US" sz="1200" dirty="0">
                <a:solidFill>
                  <a:schemeClr val="bg1">
                    <a:lumMod val="85000"/>
                  </a:schemeClr>
                </a:solidFill>
                <a:latin typeface="Arial"/>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Versionierung</a:t>
              </a:r>
              <a:endParaRPr lang="en-US" sz="1200" dirty="0">
                <a:solidFill>
                  <a:schemeClr val="bg1">
                    <a:lumMod val="85000"/>
                  </a:schemeClr>
                </a:solidFill>
                <a:latin typeface="Arial"/>
              </a:endParaRPr>
            </a:p>
          </p:txBody>
        </p:sp>
      </p:grpSp>
    </p:spTree>
    <p:extLst>
      <p:ext uri="{BB962C8B-B14F-4D97-AF65-F5344CB8AC3E}">
        <p14:creationId xmlns:p14="http://schemas.microsoft.com/office/powerpoint/2010/main" val="62741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99C4B16-C454-F065-BD9D-DEAB508293A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0CB4A9-D2E7-4EC2-C343-98C9B5D7F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700CB4A9-D2E7-4EC2-C343-98C9B5D7F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CC9305-E76D-77AA-A2F0-9342794C7B8D}"/>
              </a:ext>
            </a:extLst>
          </p:cNvPr>
          <p:cNvSpPr>
            <a:spLocks noGrp="1"/>
          </p:cNvSpPr>
          <p:nvPr>
            <p:ph type="title"/>
          </p:nvPr>
        </p:nvSpPr>
        <p:spPr>
          <a:xfrm>
            <a:off x="1" y="435753"/>
            <a:ext cx="2682026"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Und </a:t>
            </a:r>
            <a:r>
              <a:rPr lang="en-US" dirty="0" err="1">
                <a:latin typeface="Montserrat" panose="00000500000000000000" pitchFamily="2" charset="0"/>
                <a:ea typeface="Calibri" panose="020F0502020204030204" pitchFamily="34" charset="0"/>
                <a:cs typeface="Calibri" panose="020F0502020204030204" pitchFamily="34" charset="0"/>
              </a:rPr>
              <a:t>jetzt</a:t>
            </a:r>
            <a:r>
              <a:rPr lang="en-US" dirty="0">
                <a:latin typeface="Montserrat" panose="00000500000000000000" pitchFamily="2" charset="0"/>
                <a:ea typeface="Calibri" panose="020F0502020204030204" pitchFamily="34" charset="0"/>
                <a:cs typeface="Calibri" panose="020F0502020204030204" pitchFamily="34" charset="0"/>
              </a:rPr>
              <a:t>…</a:t>
            </a:r>
          </a:p>
        </p:txBody>
      </p:sp>
      <p:pic>
        <p:nvPicPr>
          <p:cNvPr id="4" name="Grafik 3" descr="Ein Bild, das Kleidung, Person, Menschliches Gesicht, Im Haus enthält.&#10;&#10;Automatisch generierte Beschreibung">
            <a:extLst>
              <a:ext uri="{FF2B5EF4-FFF2-40B4-BE49-F238E27FC236}">
                <a16:creationId xmlns:a16="http://schemas.microsoft.com/office/drawing/2014/main" id="{372DFE07-2841-173E-9B7F-BF7EABE3029D}"/>
              </a:ext>
            </a:extLst>
          </p:cNvPr>
          <p:cNvPicPr>
            <a:picLocks noChangeAspect="1"/>
          </p:cNvPicPr>
          <p:nvPr/>
        </p:nvPicPr>
        <p:blipFill>
          <a:blip r:embed="rId5"/>
          <a:stretch>
            <a:fillRect/>
          </a:stretch>
        </p:blipFill>
        <p:spPr>
          <a:xfrm>
            <a:off x="3039035" y="0"/>
            <a:ext cx="9152964" cy="6864723"/>
          </a:xfrm>
          <a:prstGeom prst="rect">
            <a:avLst/>
          </a:prstGeom>
        </p:spPr>
      </p:pic>
      <p:sp>
        <p:nvSpPr>
          <p:cNvPr id="6" name="Rechteck 5">
            <a:extLst>
              <a:ext uri="{FF2B5EF4-FFF2-40B4-BE49-F238E27FC236}">
                <a16:creationId xmlns:a16="http://schemas.microsoft.com/office/drawing/2014/main" id="{554D76AD-9C7F-98EB-C49C-369B2B0CA712}"/>
              </a:ext>
            </a:extLst>
          </p:cNvPr>
          <p:cNvSpPr/>
          <p:nvPr/>
        </p:nvSpPr>
        <p:spPr>
          <a:xfrm>
            <a:off x="3325905" y="71718"/>
            <a:ext cx="8579223"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Und dann darf ich </a:t>
            </a:r>
            <a:r>
              <a:rPr lang="de-DE" sz="2000" b="1" dirty="0" err="1">
                <a:solidFill>
                  <a:schemeClr val="tx1"/>
                </a:solidFill>
              </a:rPr>
              <a:t>hundertdrölfzig</a:t>
            </a:r>
            <a:r>
              <a:rPr lang="de-DE" sz="2000" b="1" dirty="0">
                <a:solidFill>
                  <a:schemeClr val="tx1"/>
                </a:solidFill>
              </a:rPr>
              <a:t> Connections konfigurieren und aufeinander abstimmen, oder wie?</a:t>
            </a:r>
          </a:p>
        </p:txBody>
      </p:sp>
    </p:spTree>
    <p:extLst>
      <p:ext uri="{BB962C8B-B14F-4D97-AF65-F5344CB8AC3E}">
        <p14:creationId xmlns:p14="http://schemas.microsoft.com/office/powerpoint/2010/main" val="2287832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ABA7FAE-F8B5-397A-B4F5-2AFA0FFAB2E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1BB610-9376-E10D-8AFD-9B0EC03F04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EE1BB610-9376-E10D-8AFD-9B0EC03F0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68DBCD-A9C4-B1DB-FA0C-0B5C4A6901D0}"/>
              </a:ext>
            </a:extLst>
          </p:cNvPr>
          <p:cNvSpPr>
            <a:spLocks noGrp="1"/>
          </p:cNvSpPr>
          <p:nvPr>
            <p:ph type="title"/>
          </p:nvPr>
        </p:nvSpPr>
        <p:spPr>
          <a:xfrm>
            <a:off x="1" y="435753"/>
            <a:ext cx="2682026"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Und </a:t>
            </a:r>
            <a:r>
              <a:rPr lang="en-US" dirty="0" err="1">
                <a:latin typeface="Montserrat" panose="00000500000000000000" pitchFamily="2" charset="0"/>
                <a:ea typeface="Calibri" panose="020F0502020204030204" pitchFamily="34" charset="0"/>
                <a:cs typeface="Calibri" panose="020F0502020204030204" pitchFamily="34" charset="0"/>
              </a:rPr>
              <a:t>jetzt</a:t>
            </a:r>
            <a:r>
              <a:rPr lang="en-US" dirty="0">
                <a:latin typeface="Montserrat" panose="00000500000000000000" pitchFamily="2" charset="0"/>
                <a:ea typeface="Calibri" panose="020F0502020204030204" pitchFamily="34" charset="0"/>
                <a:cs typeface="Calibri" panose="020F0502020204030204" pitchFamily="34" charset="0"/>
              </a:rPr>
              <a:t>…</a:t>
            </a:r>
          </a:p>
        </p:txBody>
      </p:sp>
      <p:pic>
        <p:nvPicPr>
          <p:cNvPr id="7" name="Picture 11" descr="A computer with a blank screen&#10;&#10;Description automatically generated">
            <a:extLst>
              <a:ext uri="{FF2B5EF4-FFF2-40B4-BE49-F238E27FC236}">
                <a16:creationId xmlns:a16="http://schemas.microsoft.com/office/drawing/2014/main" id="{CDA6431B-672E-69B6-E5E1-170E2ED4227D}"/>
              </a:ext>
            </a:extLst>
          </p:cNvPr>
          <p:cNvPicPr>
            <a:picLocks noChangeAspect="1"/>
          </p:cNvPicPr>
          <p:nvPr/>
        </p:nvPicPr>
        <p:blipFill>
          <a:blip r:embed="rId5"/>
          <a:stretch>
            <a:fillRect/>
          </a:stretch>
        </p:blipFill>
        <p:spPr>
          <a:xfrm>
            <a:off x="1422191" y="1355868"/>
            <a:ext cx="9267825" cy="5230687"/>
          </a:xfrm>
          <a:prstGeom prst="rect">
            <a:avLst/>
          </a:prstGeom>
        </p:spPr>
      </p:pic>
      <p:sp>
        <p:nvSpPr>
          <p:cNvPr id="8" name="Rectangle 15">
            <a:extLst>
              <a:ext uri="{FF2B5EF4-FFF2-40B4-BE49-F238E27FC236}">
                <a16:creationId xmlns:a16="http://schemas.microsoft.com/office/drawing/2014/main" id="{3013CBA2-EE0C-FD82-600C-A58FE86828EE}"/>
              </a:ext>
            </a:extLst>
          </p:cNvPr>
          <p:cNvSpPr/>
          <p:nvPr/>
        </p:nvSpPr>
        <p:spPr>
          <a:xfrm>
            <a:off x="2372412" y="1639604"/>
            <a:ext cx="7370871" cy="4383018"/>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Rectangle 19">
            <a:extLst>
              <a:ext uri="{FF2B5EF4-FFF2-40B4-BE49-F238E27FC236}">
                <a16:creationId xmlns:a16="http://schemas.microsoft.com/office/drawing/2014/main" id="{3A8D846E-905E-D302-7D3D-2A0FD35389A3}"/>
              </a:ext>
            </a:extLst>
          </p:cNvPr>
          <p:cNvSpPr/>
          <p:nvPr/>
        </p:nvSpPr>
        <p:spPr>
          <a:xfrm>
            <a:off x="2372412" y="1639604"/>
            <a:ext cx="3727558" cy="4383018"/>
          </a:xfrm>
          <a:custGeom>
            <a:avLst/>
            <a:gdLst>
              <a:gd name="connsiteX0" fmla="*/ 0 w 7370871"/>
              <a:gd name="connsiteY0" fmla="*/ 0 h 4383018"/>
              <a:gd name="connsiteX1" fmla="*/ 7370871 w 7370871"/>
              <a:gd name="connsiteY1" fmla="*/ 0 h 4383018"/>
              <a:gd name="connsiteX2" fmla="*/ 7370871 w 7370871"/>
              <a:gd name="connsiteY2" fmla="*/ 4383018 h 4383018"/>
              <a:gd name="connsiteX3" fmla="*/ 0 w 7370871"/>
              <a:gd name="connsiteY3" fmla="*/ 4383018 h 4383018"/>
              <a:gd name="connsiteX4" fmla="*/ 0 w 7370871"/>
              <a:gd name="connsiteY4" fmla="*/ 0 h 4383018"/>
              <a:gd name="connsiteX0" fmla="*/ 0 w 7370871"/>
              <a:gd name="connsiteY0" fmla="*/ 0 h 4383018"/>
              <a:gd name="connsiteX1" fmla="*/ 7370871 w 7370871"/>
              <a:gd name="connsiteY1" fmla="*/ 0 h 4383018"/>
              <a:gd name="connsiteX2" fmla="*/ 1703496 w 7370871"/>
              <a:gd name="connsiteY2" fmla="*/ 4383018 h 4383018"/>
              <a:gd name="connsiteX3" fmla="*/ 0 w 7370871"/>
              <a:gd name="connsiteY3" fmla="*/ 4383018 h 4383018"/>
              <a:gd name="connsiteX4" fmla="*/ 0 w 7370871"/>
              <a:gd name="connsiteY4" fmla="*/ 0 h 4383018"/>
              <a:gd name="connsiteX0" fmla="*/ 0 w 7370871"/>
              <a:gd name="connsiteY0" fmla="*/ 0 h 4385399"/>
              <a:gd name="connsiteX1" fmla="*/ 7370871 w 7370871"/>
              <a:gd name="connsiteY1" fmla="*/ 0 h 4385399"/>
              <a:gd name="connsiteX2" fmla="*/ 1727308 w 7370871"/>
              <a:gd name="connsiteY2" fmla="*/ 4385399 h 4385399"/>
              <a:gd name="connsiteX3" fmla="*/ 0 w 7370871"/>
              <a:gd name="connsiteY3" fmla="*/ 4383018 h 4385399"/>
              <a:gd name="connsiteX4" fmla="*/ 0 w 7370871"/>
              <a:gd name="connsiteY4" fmla="*/ 0 h 4385399"/>
              <a:gd name="connsiteX0" fmla="*/ 0 w 7370871"/>
              <a:gd name="connsiteY0" fmla="*/ 0 h 4383018"/>
              <a:gd name="connsiteX1" fmla="*/ 7370871 w 7370871"/>
              <a:gd name="connsiteY1" fmla="*/ 0 h 4383018"/>
              <a:gd name="connsiteX2" fmla="*/ 1727308 w 7370871"/>
              <a:gd name="connsiteY2" fmla="*/ 4383017 h 4383018"/>
              <a:gd name="connsiteX3" fmla="*/ 0 w 7370871"/>
              <a:gd name="connsiteY3" fmla="*/ 4383018 h 4383018"/>
              <a:gd name="connsiteX4" fmla="*/ 0 w 7370871"/>
              <a:gd name="connsiteY4" fmla="*/ 0 h 4383018"/>
              <a:gd name="connsiteX0" fmla="*/ 0 w 3732321"/>
              <a:gd name="connsiteY0" fmla="*/ 0 h 4383018"/>
              <a:gd name="connsiteX1" fmla="*/ 3732321 w 3732321"/>
              <a:gd name="connsiteY1" fmla="*/ 6350 h 4383018"/>
              <a:gd name="connsiteX2" fmla="*/ 1727308 w 3732321"/>
              <a:gd name="connsiteY2" fmla="*/ 4383017 h 4383018"/>
              <a:gd name="connsiteX3" fmla="*/ 0 w 3732321"/>
              <a:gd name="connsiteY3" fmla="*/ 4383018 h 4383018"/>
              <a:gd name="connsiteX4" fmla="*/ 0 w 3732321"/>
              <a:gd name="connsiteY4" fmla="*/ 0 h 4383018"/>
              <a:gd name="connsiteX0" fmla="*/ 0 w 3727558"/>
              <a:gd name="connsiteY0" fmla="*/ 0 h 4383018"/>
              <a:gd name="connsiteX1" fmla="*/ 3727558 w 3727558"/>
              <a:gd name="connsiteY1" fmla="*/ 1588 h 4383018"/>
              <a:gd name="connsiteX2" fmla="*/ 1727308 w 3727558"/>
              <a:gd name="connsiteY2" fmla="*/ 4383017 h 4383018"/>
              <a:gd name="connsiteX3" fmla="*/ 0 w 3727558"/>
              <a:gd name="connsiteY3" fmla="*/ 4383018 h 4383018"/>
              <a:gd name="connsiteX4" fmla="*/ 0 w 3727558"/>
              <a:gd name="connsiteY4" fmla="*/ 0 h 4383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7558" h="4383018">
                <a:moveTo>
                  <a:pt x="0" y="0"/>
                </a:moveTo>
                <a:lnTo>
                  <a:pt x="3727558" y="1588"/>
                </a:lnTo>
                <a:lnTo>
                  <a:pt x="1727308" y="4383017"/>
                </a:lnTo>
                <a:lnTo>
                  <a:pt x="0" y="4383018"/>
                </a:lnTo>
                <a:lnTo>
                  <a:pt x="0" y="0"/>
                </a:lnTo>
                <a:close/>
              </a:path>
            </a:pathLst>
          </a:custGeom>
          <a:solidFill>
            <a:srgbClr val="07E7A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a:p>
        </p:txBody>
      </p:sp>
      <p:sp>
        <p:nvSpPr>
          <p:cNvPr id="20" name="Textfeld 19">
            <a:extLst>
              <a:ext uri="{FF2B5EF4-FFF2-40B4-BE49-F238E27FC236}">
                <a16:creationId xmlns:a16="http://schemas.microsoft.com/office/drawing/2014/main" id="{601B1753-D4EC-D7F4-A6C1-654591758E39}"/>
              </a:ext>
            </a:extLst>
          </p:cNvPr>
          <p:cNvSpPr txBox="1"/>
          <p:nvPr/>
        </p:nvSpPr>
        <p:spPr>
          <a:xfrm>
            <a:off x="3500284" y="3211980"/>
            <a:ext cx="5191432" cy="1231106"/>
          </a:xfrm>
          <a:prstGeom prst="rect">
            <a:avLst/>
          </a:prstGeom>
          <a:noFill/>
        </p:spPr>
        <p:txBody>
          <a:bodyPr wrap="square" lIns="0" tIns="0" rIns="0" bIns="0" rtlCol="0">
            <a:spAutoFit/>
          </a:bodyPr>
          <a:lstStyle/>
          <a:p>
            <a:pPr algn="ctr">
              <a:lnSpc>
                <a:spcPct val="100000"/>
              </a:lnSpc>
              <a:spcAft>
                <a:spcPts val="600"/>
              </a:spcAft>
              <a:buSzPct val="100000"/>
            </a:pPr>
            <a:r>
              <a:rPr lang="de-DE" sz="8000" dirty="0"/>
              <a:t>Live Demo</a:t>
            </a:r>
          </a:p>
        </p:txBody>
      </p:sp>
    </p:spTree>
    <p:extLst>
      <p:ext uri="{BB962C8B-B14F-4D97-AF65-F5344CB8AC3E}">
        <p14:creationId xmlns:p14="http://schemas.microsoft.com/office/powerpoint/2010/main" val="3187611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681B2D85-FAC0-6E11-1279-648778EB63F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12E47D-3870-04E9-F62C-2FC56F496A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5312E47D-3870-04E9-F62C-2FC56F496A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52B6B1-CD60-24A8-281A-A8C649A29AAE}"/>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pic>
        <p:nvPicPr>
          <p:cNvPr id="9" name="Grafik 8">
            <a:extLst>
              <a:ext uri="{FF2B5EF4-FFF2-40B4-BE49-F238E27FC236}">
                <a16:creationId xmlns:a16="http://schemas.microsoft.com/office/drawing/2014/main" id="{DFF3EF7E-AC24-BF3E-42D4-7D0A1E2E0C8F}"/>
              </a:ext>
            </a:extLst>
          </p:cNvPr>
          <p:cNvPicPr>
            <a:picLocks noChangeAspect="1"/>
          </p:cNvPicPr>
          <p:nvPr/>
        </p:nvPicPr>
        <p:blipFill>
          <a:blip r:embed="rId5"/>
          <a:stretch>
            <a:fillRect/>
          </a:stretch>
        </p:blipFill>
        <p:spPr>
          <a:xfrm>
            <a:off x="1305918" y="1504681"/>
            <a:ext cx="9993120" cy="3848637"/>
          </a:xfrm>
          <a:prstGeom prst="rect">
            <a:avLst/>
          </a:prstGeom>
        </p:spPr>
      </p:pic>
    </p:spTree>
    <p:extLst>
      <p:ext uri="{BB962C8B-B14F-4D97-AF65-F5344CB8AC3E}">
        <p14:creationId xmlns:p14="http://schemas.microsoft.com/office/powerpoint/2010/main" val="10066248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89F13976-406C-58B8-C293-D1A13F94905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7272F5-1D00-53AF-54C3-4B877E405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E7272F5-1D00-53AF-54C3-4B877E405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834016-DEB0-DAF3-81DB-6CE7F6C2A7EC}"/>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pic>
        <p:nvPicPr>
          <p:cNvPr id="4" name="Grafik 3">
            <a:extLst>
              <a:ext uri="{FF2B5EF4-FFF2-40B4-BE49-F238E27FC236}">
                <a16:creationId xmlns:a16="http://schemas.microsoft.com/office/drawing/2014/main" id="{180E8CE4-9341-5C6C-8701-82D2F1CF8148}"/>
              </a:ext>
            </a:extLst>
          </p:cNvPr>
          <p:cNvPicPr>
            <a:picLocks noChangeAspect="1"/>
          </p:cNvPicPr>
          <p:nvPr/>
        </p:nvPicPr>
        <p:blipFill>
          <a:blip r:embed="rId5"/>
          <a:stretch>
            <a:fillRect/>
          </a:stretch>
        </p:blipFill>
        <p:spPr>
          <a:xfrm>
            <a:off x="0" y="1599362"/>
            <a:ext cx="12192000" cy="3659275"/>
          </a:xfrm>
          <a:prstGeom prst="rect">
            <a:avLst/>
          </a:prstGeom>
        </p:spPr>
      </p:pic>
      <p:sp>
        <p:nvSpPr>
          <p:cNvPr id="3" name="Rechteck 2">
            <a:extLst>
              <a:ext uri="{FF2B5EF4-FFF2-40B4-BE49-F238E27FC236}">
                <a16:creationId xmlns:a16="http://schemas.microsoft.com/office/drawing/2014/main" id="{F369CC1F-60F6-320B-3BEB-15A7B05A56EC}"/>
              </a:ext>
            </a:extLst>
          </p:cNvPr>
          <p:cNvSpPr/>
          <p:nvPr/>
        </p:nvSpPr>
        <p:spPr>
          <a:xfrm>
            <a:off x="1806388" y="5436744"/>
            <a:ext cx="8579223"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Über „Spalte hinzufügen“ können Systemspalten angezeigt werden!</a:t>
            </a:r>
          </a:p>
        </p:txBody>
      </p:sp>
    </p:spTree>
    <p:extLst>
      <p:ext uri="{BB962C8B-B14F-4D97-AF65-F5344CB8AC3E}">
        <p14:creationId xmlns:p14="http://schemas.microsoft.com/office/powerpoint/2010/main" val="17620453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a:extLst>
            <a:ext uri="{FF2B5EF4-FFF2-40B4-BE49-F238E27FC236}">
              <a16:creationId xmlns:a16="http://schemas.microsoft.com/office/drawing/2014/main" id="{C036FAEE-5D59-4346-A3AA-53A9BB56F51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4AD66-3E0E-CFD2-0A86-7E2CA77654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7954AD66-3E0E-CFD2-0A86-7E2CA7765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4DC6C8-8054-CAAE-8B9D-4C005B868968}"/>
              </a:ext>
            </a:extLst>
          </p:cNvPr>
          <p:cNvSpPr>
            <a:spLocks noGrp="1"/>
          </p:cNvSpPr>
          <p:nvPr>
            <p:ph type="title"/>
          </p:nvPr>
        </p:nvSpPr>
        <p:spPr>
          <a:xfrm>
            <a:off x="1" y="435753"/>
            <a:ext cx="5823912"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404… für den Fall der </a:t>
            </a:r>
            <a:r>
              <a:rPr lang="en-US" dirty="0" err="1">
                <a:latin typeface="Montserrat" panose="00000500000000000000" pitchFamily="2" charset="0"/>
                <a:ea typeface="Calibri" panose="020F0502020204030204" pitchFamily="34" charset="0"/>
                <a:cs typeface="Calibri" panose="020F0502020204030204" pitchFamily="34" charset="0"/>
              </a:rPr>
              <a:t>Fälle</a:t>
            </a:r>
            <a:endParaRPr lang="en-US" dirty="0">
              <a:latin typeface="Montserrat" panose="00000500000000000000" pitchFamily="2" charset="0"/>
              <a:ea typeface="Calibri" panose="020F0502020204030204" pitchFamily="34" charset="0"/>
              <a:cs typeface="Calibri" panose="020F0502020204030204" pitchFamily="34" charset="0"/>
            </a:endParaRPr>
          </a:p>
        </p:txBody>
      </p:sp>
      <p:pic>
        <p:nvPicPr>
          <p:cNvPr id="7" name="Grafik 6">
            <a:extLst>
              <a:ext uri="{FF2B5EF4-FFF2-40B4-BE49-F238E27FC236}">
                <a16:creationId xmlns:a16="http://schemas.microsoft.com/office/drawing/2014/main" id="{B31D9B61-F2C0-F457-CBD1-3FA6A10A46A4}"/>
              </a:ext>
            </a:extLst>
          </p:cNvPr>
          <p:cNvPicPr>
            <a:picLocks noChangeAspect="1"/>
          </p:cNvPicPr>
          <p:nvPr/>
        </p:nvPicPr>
        <p:blipFill>
          <a:blip r:embed="rId5"/>
          <a:stretch>
            <a:fillRect/>
          </a:stretch>
        </p:blipFill>
        <p:spPr>
          <a:xfrm>
            <a:off x="6096000" y="0"/>
            <a:ext cx="5718040" cy="6858000"/>
          </a:xfrm>
          <a:prstGeom prst="rect">
            <a:avLst/>
          </a:prstGeom>
        </p:spPr>
      </p:pic>
      <p:sp>
        <p:nvSpPr>
          <p:cNvPr id="8" name="Rechteck 7">
            <a:extLst>
              <a:ext uri="{FF2B5EF4-FFF2-40B4-BE49-F238E27FC236}">
                <a16:creationId xmlns:a16="http://schemas.microsoft.com/office/drawing/2014/main" id="{C2251C25-F37E-26E2-1B31-4C980B051342}"/>
              </a:ext>
            </a:extLst>
          </p:cNvPr>
          <p:cNvSpPr/>
          <p:nvPr/>
        </p:nvSpPr>
        <p:spPr>
          <a:xfrm>
            <a:off x="377960" y="2206848"/>
            <a:ext cx="5445953" cy="3618765"/>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In den drei Punkten neben einem Eintrag gibt es den Versionsverlauf, wo alle Änderungen nachgehalten werden können.</a:t>
            </a:r>
          </a:p>
        </p:txBody>
      </p:sp>
    </p:spTree>
    <p:extLst>
      <p:ext uri="{BB962C8B-B14F-4D97-AF65-F5344CB8AC3E}">
        <p14:creationId xmlns:p14="http://schemas.microsoft.com/office/powerpoint/2010/main" val="42041831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5706804,1,Slide214570654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BI or DIE Colors">
      <a:dk1>
        <a:sysClr val="windowText" lastClr="000000"/>
      </a:dk1>
      <a:lt1>
        <a:sysClr val="window" lastClr="FFFFFF"/>
      </a:lt1>
      <a:dk2>
        <a:srgbClr val="F2C811"/>
      </a:dk2>
      <a:lt2>
        <a:srgbClr val="F8F8F8"/>
      </a:lt2>
      <a:accent1>
        <a:srgbClr val="06D6A0"/>
      </a:accent1>
      <a:accent2>
        <a:srgbClr val="FF0060"/>
      </a:accent2>
      <a:accent3>
        <a:srgbClr val="F09B10"/>
      </a:accent3>
      <a:accent4>
        <a:srgbClr val="0B66C2"/>
      </a:accent4>
      <a:accent5>
        <a:srgbClr val="EC92F9"/>
      </a:accent5>
      <a:accent6>
        <a:srgbClr val="02B9F2"/>
      </a:accent6>
      <a:hlink>
        <a:srgbClr val="595959"/>
      </a:hlink>
      <a:folHlink>
        <a:srgbClr val="F2C811"/>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BI or DIE_PPT Template_v1.pptx" id="{6B65C24C-29D9-423D-8B13-27B7E780FFAA}" vid="{614BDD78-D670-4A11-9A07-912C0A5C614C}"/>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73a7739-ffb5-4fef-b166-4f8774c35c3e">
      <Terms xmlns="http://schemas.microsoft.com/office/infopath/2007/PartnerControls"/>
    </lcf76f155ced4ddcb4097134ff3c332f>
    <TaxCatchAll xmlns="9f6c7e6f-ceed-4cfd-a6d9-b79455156d09" xsi:nil="true"/>
    <SharedWithUsers xmlns="9f6c7e6f-ceed-4cfd-a6d9-b79455156d09">
      <UserInfo>
        <DisplayName>Andreas Wiener</DisplayName>
        <AccountId>37</AccountId>
        <AccountType/>
      </UserInfo>
      <UserInfo>
        <DisplayName>Simon Frank</DisplayName>
        <AccountId>93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85C596AF1B3C414984AA18FB2ECCC297" ma:contentTypeVersion="18" ma:contentTypeDescription="Ein neues Dokument erstellen." ma:contentTypeScope="" ma:versionID="ac6f6b05087968e57d49f2325d49f277">
  <xsd:schema xmlns:xsd="http://www.w3.org/2001/XMLSchema" xmlns:xs="http://www.w3.org/2001/XMLSchema" xmlns:p="http://schemas.microsoft.com/office/2006/metadata/properties" xmlns:ns2="c73a7739-ffb5-4fef-b166-4f8774c35c3e" xmlns:ns3="9f6c7e6f-ceed-4cfd-a6d9-b79455156d09" targetNamespace="http://schemas.microsoft.com/office/2006/metadata/properties" ma:root="true" ma:fieldsID="db83fdb0de9b8e0aa5614954e666dbd9" ns2:_="" ns3:_="">
    <xsd:import namespace="c73a7739-ffb5-4fef-b166-4f8774c35c3e"/>
    <xsd:import namespace="9f6c7e6f-ceed-4cfd-a6d9-b79455156d0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3a7739-ffb5-4fef-b166-4f8774c35c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103d77d1-d645-46fc-a1a2-3b4016463e52" ma:termSetId="09814cd3-568e-fe90-9814-8d621ff8fb84" ma:anchorId="fba54fb3-c3e1-fe81-a776-ca4b69148c4d" ma:open="true" ma:isKeyword="false">
      <xsd:complexType>
        <xsd:sequence>
          <xsd:element ref="pc:Terms" minOccurs="0" maxOccurs="1"/>
        </xsd:sequence>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6c7e6f-ceed-4cfd-a6d9-b79455156d0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4d700646-45d0-435e-b4e2-8410d2fdb2a1}" ma:internalName="TaxCatchAll" ma:showField="CatchAllData" ma:web="9f6c7e6f-ceed-4cfd-a6d9-b79455156d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7BD98D-E76A-4296-ABCC-8F897274E9A3}">
  <ds:schemaRefs>
    <ds:schemaRef ds:uri="9f6c7e6f-ceed-4cfd-a6d9-b79455156d09"/>
    <ds:schemaRef ds:uri="http://www.w3.org/XML/1998/namespace"/>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c73a7739-ffb5-4fef-b166-4f8774c35c3e"/>
    <ds:schemaRef ds:uri="http://schemas.microsoft.com/office/2006/metadata/properties"/>
  </ds:schemaRefs>
</ds:datastoreItem>
</file>

<file path=customXml/itemProps2.xml><?xml version="1.0" encoding="utf-8"?>
<ds:datastoreItem xmlns:ds="http://schemas.openxmlformats.org/officeDocument/2006/customXml" ds:itemID="{2765F16E-D029-4065-9AF3-81AEDA87943F}">
  <ds:schemaRefs>
    <ds:schemaRef ds:uri="9f6c7e6f-ceed-4cfd-a6d9-b79455156d09"/>
    <ds:schemaRef ds:uri="c73a7739-ffb5-4fef-b166-4f8774c35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142E8D-4B7A-4699-BA35-C74A833BD1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I or DIE_PPT Template_v1</Template>
  <TotalTime>0</TotalTime>
  <Words>407</Words>
  <Application>Microsoft Office PowerPoint</Application>
  <PresentationFormat>Breitbild</PresentationFormat>
  <Paragraphs>69</Paragraphs>
  <Slides>14</Slides>
  <Notes>0</Notes>
  <HiddenSlides>6</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19" baseType="lpstr">
      <vt:lpstr>Arial</vt:lpstr>
      <vt:lpstr>Georgia</vt:lpstr>
      <vt:lpstr>Montserrat</vt:lpstr>
      <vt:lpstr>PwC</vt:lpstr>
      <vt:lpstr>think-cell Slide</vt:lpstr>
      <vt:lpstr>PowerPoint-Präsentation</vt:lpstr>
      <vt:lpstr>Anwendungsfall</vt:lpstr>
      <vt:lpstr>Anwendungsfall</vt:lpstr>
      <vt:lpstr>Anwendungsfall – Grobe Planung</vt:lpstr>
      <vt:lpstr>Und jetzt…</vt:lpstr>
      <vt:lpstr>Und jetzt…</vt:lpstr>
      <vt:lpstr>404… für den Fall der Fälle</vt:lpstr>
      <vt:lpstr>404… für den Fall der Fälle</vt:lpstr>
      <vt:lpstr>404… für den Fall der Fälle</vt:lpstr>
      <vt:lpstr>404… für den Fall der Fälle</vt:lpstr>
      <vt:lpstr>404… für den Fall der Fälle</vt:lpstr>
      <vt:lpstr>404… für den Fall der Fälle</vt:lpstr>
      <vt:lpstr>It’s magic!</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Ulrik Harnisch</dc:creator>
  <cp:keywords/>
  <dc:description/>
  <cp:lastModifiedBy>Ulrik Harnisch</cp:lastModifiedBy>
  <cp:revision>1</cp:revision>
  <cp:lastPrinted>2024-02-21T12:28:52Z</cp:lastPrinted>
  <dcterms:created xsi:type="dcterms:W3CDTF">2024-11-11T16:54:37Z</dcterms:created>
  <dcterms:modified xsi:type="dcterms:W3CDTF">2024-11-14T14:38: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type">
    <vt:lpwstr>PwC16x9</vt:lpwstr>
  </property>
  <property fmtid="{D5CDD505-2E9C-101B-9397-08002B2CF9AE}" pid="3" name="TB template version">
    <vt:lpwstr>6</vt:lpwstr>
  </property>
  <property fmtid="{D5CDD505-2E9C-101B-9397-08002B2CF9AE}" pid="4" name="TB template release">
    <vt:lpwstr>5</vt:lpwstr>
  </property>
  <property fmtid="{D5CDD505-2E9C-101B-9397-08002B2CF9AE}" pid="5" name="ContentTypeId">
    <vt:lpwstr>0x01010085C596AF1B3C414984AA18FB2ECCC297</vt:lpwstr>
  </property>
  <property fmtid="{D5CDD505-2E9C-101B-9397-08002B2CF9AE}" pid="6" name="MediaServiceImageTags">
    <vt:lpwstr/>
  </property>
</Properties>
</file>